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7.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8.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0.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14"/>
  </p:notesMasterIdLst>
  <p:handoutMasterIdLst>
    <p:handoutMasterId r:id="rId15"/>
  </p:handoutMasterIdLst>
  <p:sldIdLst>
    <p:sldId id="532" r:id="rId2"/>
    <p:sldId id="533" r:id="rId3"/>
    <p:sldId id="534" r:id="rId4"/>
    <p:sldId id="435" r:id="rId5"/>
    <p:sldId id="436" r:id="rId6"/>
    <p:sldId id="547" r:id="rId7"/>
    <p:sldId id="548" r:id="rId8"/>
    <p:sldId id="549" r:id="rId9"/>
    <p:sldId id="437" r:id="rId10"/>
    <p:sldId id="438" r:id="rId11"/>
    <p:sldId id="540" r:id="rId12"/>
    <p:sldId id="541" r:id="rId13"/>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961" autoAdjust="0"/>
    <p:restoredTop sz="80157" autoAdjust="0"/>
  </p:normalViewPr>
  <p:slideViewPr>
    <p:cSldViewPr>
      <p:cViewPr varScale="1">
        <p:scale>
          <a:sx n="86" d="100"/>
          <a:sy n="86" d="100"/>
        </p:scale>
        <p:origin x="728" y="200"/>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a:t>Paper VS ProFile</a:t>
          </a:r>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CA" dirty="0"/>
            <a:t>An individual T1</a:t>
          </a:r>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70D6520E-2D83-7642-8813-A0947D86170A}">
      <dgm:prSet/>
      <dgm:spPr/>
      <dgm:t>
        <a:bodyPr/>
        <a:lstStyle/>
        <a:p>
          <a:pPr rtl="0"/>
          <a:r>
            <a:rPr lang="en-CA" dirty="0"/>
            <a:t>A Spousal T1</a:t>
          </a:r>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pt>
    <dgm:pt modelId="{96B25C73-5C82-454A-AF23-58BAC3E61242}" type="pres">
      <dgm:prSet presAssocID="{CF0461F7-EC97-BB41-A574-9C1E3009EACC}" presName="descendantText" presStyleLbl="alignAccFollowNode1" presStyleIdx="0" presStyleCnt="1">
        <dgm:presLayoutVars>
          <dgm:bulletEnabled val="1"/>
        </dgm:presLayoutVars>
      </dgm:prSet>
      <dgm:spPr/>
    </dgm:pt>
  </dgm:ptLst>
  <dgm:cxnLst>
    <dgm:cxn modelId="{25E8D224-A22C-CB4D-BD24-6961FCEFB3A0}" srcId="{CF0461F7-EC97-BB41-A574-9C1E3009EACC}" destId="{70D6520E-2D83-7642-8813-A0947D86170A}" srcOrd="2" destOrd="0" parTransId="{F9578D9A-9E8B-CC42-B5F6-BA0B770F8FA0}" sibTransId="{1AC033CC-ACEF-1A4F-868F-B5ACB3BC2819}"/>
    <dgm:cxn modelId="{674D6C8A-30E6-564D-9142-120BB4D947A9}" srcId="{02BA0D8E-884F-D545-BFF7-95207C181DAB}" destId="{CF0461F7-EC97-BB41-A574-9C1E3009EACC}" srcOrd="0" destOrd="0" parTransId="{B2C709E6-0566-4D4E-97EA-2EBE699D701F}" sibTransId="{ABC1C475-5434-1B41-BC48-ADC728C8CBF7}"/>
    <dgm:cxn modelId="{EA26DFAF-B91B-7846-9D36-C9B3D215BA11}" type="presOf" srcId="{70D6520E-2D83-7642-8813-A0947D86170A}" destId="{96B25C73-5C82-454A-AF23-58BAC3E61242}" srcOrd="0" destOrd="2" presId="urn:microsoft.com/office/officeart/2005/8/layout/vList5"/>
    <dgm:cxn modelId="{41B8F1B6-425C-7040-9450-1B864D828345}" type="presOf" srcId="{CF0461F7-EC97-BB41-A574-9C1E3009EACC}" destId="{43DEFE45-1517-3942-920E-48C520E9C0B4}"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EC8A03D1-5A39-7D45-A241-EAC9C645D1A9}" type="presOf" srcId="{98F67694-0BAD-4EA6-9C61-873CF2826E85}" destId="{96B25C73-5C82-454A-AF23-58BAC3E61242}"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830457EA-4830-6849-B056-5DAFA7AC888A}" type="presOf" srcId="{02BA0D8E-884F-D545-BFF7-95207C181DAB}" destId="{5325FF06-BE85-6742-9495-B8F42BFC9B7F}" srcOrd="0" destOrd="0" presId="urn:microsoft.com/office/officeart/2005/8/layout/vList5"/>
    <dgm:cxn modelId="{CEE62FF6-3383-4B80-872B-7C9EC927D3B6}" srcId="{CF0461F7-EC97-BB41-A574-9C1E3009EACC}" destId="{98F67694-0BAD-4EA6-9C61-873CF2826E85}" srcOrd="0" destOrd="0" parTransId="{DD0C60F8-EA9F-4910-99A6-33A1D1C67178}" sibTransId="{CC885E32-725D-43A9-88B3-EDBE2AAE1F86}"/>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43C5C48-A3A7-894C-AFBF-327FB8DC19E8}" type="presOf" srcId="{9DF463DA-C321-47BB-A748-44B5D722BDE4}" destId="{03D7DCAF-0535-410C-B056-000B4ED11701}" srcOrd="0" destOrd="0" presId="urn:microsoft.com/office/officeart/2005/8/layout/cycle2"/>
    <dgm:cxn modelId="{C59363A2-BEE3-9543-B538-CB4BFED496C6}"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BE1ACBE-5FEC-C541-87B5-071371B969F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 tax practitioner approach</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T1013</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spousal return</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pt>
  </dgm:ptLst>
  <dgm:cxnLst>
    <dgm:cxn modelId="{31679A34-BC1C-9B47-A465-8310BC622C96}" srcId="{02BA0D8E-884F-D545-BFF7-95207C181DAB}" destId="{E9E1A492-A442-6C43-A079-9B2482565921}" srcOrd="2" destOrd="0" parTransId="{F39FAEFA-8DEA-E142-8952-745FE877BDDD}" sibTransId="{8DF5F8B3-18E1-2741-93BA-87118D4666ED}"/>
    <dgm:cxn modelId="{1EE63A3C-B69D-724A-A500-AE61FB6CED3A}" type="presOf" srcId="{E9E1A492-A442-6C43-A079-9B2482565921}" destId="{E6704DB2-E16D-1E4B-AFE4-05665699DFD3}" srcOrd="0" destOrd="0" presId="urn:microsoft.com/office/officeart/2005/8/layout/vList5"/>
    <dgm:cxn modelId="{DEEA3F6E-1434-D349-B5D8-E059D724F1D0}" type="presOf" srcId="{02BA0D8E-884F-D545-BFF7-95207C181DAB}" destId="{5325FF06-BE85-6742-9495-B8F42BFC9B7F}" srcOrd="0" destOrd="0" presId="urn:microsoft.com/office/officeart/2005/8/layout/vList5"/>
    <dgm:cxn modelId="{8D540677-BD31-694D-BDB5-0BF16C99E90B}" type="presOf" srcId="{B9B532DC-7579-A74D-A3A9-E4A357178627}" destId="{A852D1B0-E251-8948-897D-AE021A41FB92}" srcOrd="0" destOrd="0" presId="urn:microsoft.com/office/officeart/2005/8/layout/vList5"/>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42E36AB0-FA8F-1E41-8CEA-2E61E7ABF067}" type="presOf" srcId="{CF0461F7-EC97-BB41-A574-9C1E3009EACC}" destId="{43DEFE45-1517-3942-920E-48C520E9C0B4}" srcOrd="0" destOrd="0" presId="urn:microsoft.com/office/officeart/2005/8/layout/vList5"/>
    <dgm:cxn modelId="{446A3936-7D18-474A-BB0A-75D7CCE53AEE}" type="presParOf" srcId="{5325FF06-BE85-6742-9495-B8F42BFC9B7F}" destId="{29217676-BC9A-6F40-9378-16D87FA052B5}" srcOrd="0" destOrd="0" presId="urn:microsoft.com/office/officeart/2005/8/layout/vList5"/>
    <dgm:cxn modelId="{7CF93219-AC08-7348-94D4-164DF3F467E5}" type="presParOf" srcId="{29217676-BC9A-6F40-9378-16D87FA052B5}" destId="{43DEFE45-1517-3942-920E-48C520E9C0B4}" srcOrd="0" destOrd="0" presId="urn:microsoft.com/office/officeart/2005/8/layout/vList5"/>
    <dgm:cxn modelId="{C733CA8F-269E-4D41-A280-C496F413E86E}" type="presParOf" srcId="{5325FF06-BE85-6742-9495-B8F42BFC9B7F}" destId="{3102A204-CFA1-49DA-9E45-B3B3B1A31762}" srcOrd="1" destOrd="0" presId="urn:microsoft.com/office/officeart/2005/8/layout/vList5"/>
    <dgm:cxn modelId="{F0B0509C-1334-3444-B181-D606102E7538}" type="presParOf" srcId="{5325FF06-BE85-6742-9495-B8F42BFC9B7F}" destId="{40B2F0A7-07FD-DE44-93FE-C691888A98AE}" srcOrd="2" destOrd="0" presId="urn:microsoft.com/office/officeart/2005/8/layout/vList5"/>
    <dgm:cxn modelId="{3B4985C8-2770-DF42-9372-276AD9795856}" type="presParOf" srcId="{40B2F0A7-07FD-DE44-93FE-C691888A98AE}" destId="{A852D1B0-E251-8948-897D-AE021A41FB92}" srcOrd="0" destOrd="0" presId="urn:microsoft.com/office/officeart/2005/8/layout/vList5"/>
    <dgm:cxn modelId="{86EB8E19-4B89-274F-B180-AAC441148A91}" type="presParOf" srcId="{5325FF06-BE85-6742-9495-B8F42BFC9B7F}" destId="{B50C389E-3FF5-B943-8D14-47753ABB2CF6}" srcOrd="3" destOrd="0" presId="urn:microsoft.com/office/officeart/2005/8/layout/vList5"/>
    <dgm:cxn modelId="{E4E2E866-3EEA-3A4A-AC96-B30112F05AD2}" type="presParOf" srcId="{5325FF06-BE85-6742-9495-B8F42BFC9B7F}" destId="{FD842771-B171-E041-97F9-0190BBC38465}" srcOrd="4" destOrd="0" presId="urn:microsoft.com/office/officeart/2005/8/layout/vList5"/>
    <dgm:cxn modelId="{63C7A086-7DA0-3A47-8B49-62055B21C764}"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1D6697C3-AE97-1845-B11C-5BCA3A617671}" type="presOf" srcId="{5D62F0D9-F62E-470E-86C1-99BBA8E85072}" destId="{8A46F5DD-BBB3-4FA2-8F4F-67830FF58BA8}" srcOrd="0" destOrd="0" presId="urn:microsoft.com/office/officeart/2005/8/layout/cycle2"/>
    <dgm:cxn modelId="{E842D9CB-BB94-8E4F-9063-A56E4463D56A}"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500A196-D968-E24D-867B-6E5487EB11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data entry</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spousal toggle</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slip summary</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pt>
  </dgm:ptLst>
  <dgm:cxnLst>
    <dgm:cxn modelId="{F12C1021-B84D-CC47-BCA8-BF4957A2523D}" type="presOf" srcId="{02BA0D8E-884F-D545-BFF7-95207C181DAB}" destId="{5325FF06-BE85-6742-9495-B8F42BFC9B7F}" srcOrd="0" destOrd="0" presId="urn:microsoft.com/office/officeart/2005/8/layout/vList5"/>
    <dgm:cxn modelId="{31679A34-BC1C-9B47-A465-8310BC622C96}" srcId="{02BA0D8E-884F-D545-BFF7-95207C181DAB}" destId="{E9E1A492-A442-6C43-A079-9B2482565921}" srcOrd="2" destOrd="0" parTransId="{F39FAEFA-8DEA-E142-8952-745FE877BDDD}" sibTransId="{8DF5F8B3-18E1-2741-93BA-87118D4666ED}"/>
    <dgm:cxn modelId="{6741C376-5C76-1549-AC9E-2166ABF5E7B0}" type="presOf" srcId="{E9E1A492-A442-6C43-A079-9B2482565921}" destId="{E6704DB2-E16D-1E4B-AFE4-05665699DFD3}" srcOrd="0" destOrd="0" presId="urn:microsoft.com/office/officeart/2005/8/layout/vList5"/>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FEEFDED0-8163-3841-BB84-14155F431CD4}" type="presOf" srcId="{B9B532DC-7579-A74D-A3A9-E4A357178627}" destId="{A852D1B0-E251-8948-897D-AE021A41FB92}" srcOrd="0" destOrd="0" presId="urn:microsoft.com/office/officeart/2005/8/layout/vList5"/>
    <dgm:cxn modelId="{5724FAE1-07A2-C24A-99CD-5B3067BC83FF}" type="presOf" srcId="{CF0461F7-EC97-BB41-A574-9C1E3009EACC}" destId="{43DEFE45-1517-3942-920E-48C520E9C0B4}" srcOrd="0" destOrd="0" presId="urn:microsoft.com/office/officeart/2005/8/layout/vList5"/>
    <dgm:cxn modelId="{48DFA482-8CF7-A44B-BE8C-75AC5A239831}" type="presParOf" srcId="{5325FF06-BE85-6742-9495-B8F42BFC9B7F}" destId="{29217676-BC9A-6F40-9378-16D87FA052B5}" srcOrd="0" destOrd="0" presId="urn:microsoft.com/office/officeart/2005/8/layout/vList5"/>
    <dgm:cxn modelId="{73E916C5-93C2-CC4F-BC2D-55A79E56A427}" type="presParOf" srcId="{29217676-BC9A-6F40-9378-16D87FA052B5}" destId="{43DEFE45-1517-3942-920E-48C520E9C0B4}" srcOrd="0" destOrd="0" presId="urn:microsoft.com/office/officeart/2005/8/layout/vList5"/>
    <dgm:cxn modelId="{89C88140-C894-C04E-A63F-A2DF6085F79F}" type="presParOf" srcId="{5325FF06-BE85-6742-9495-B8F42BFC9B7F}" destId="{3102A204-CFA1-49DA-9E45-B3B3B1A31762}" srcOrd="1" destOrd="0" presId="urn:microsoft.com/office/officeart/2005/8/layout/vList5"/>
    <dgm:cxn modelId="{860D3E69-1735-714E-85E5-12E43A75B006}" type="presParOf" srcId="{5325FF06-BE85-6742-9495-B8F42BFC9B7F}" destId="{40B2F0A7-07FD-DE44-93FE-C691888A98AE}" srcOrd="2" destOrd="0" presId="urn:microsoft.com/office/officeart/2005/8/layout/vList5"/>
    <dgm:cxn modelId="{05E14325-E5AF-A64F-A5E5-B4A83C17A0C6}" type="presParOf" srcId="{40B2F0A7-07FD-DE44-93FE-C691888A98AE}" destId="{A852D1B0-E251-8948-897D-AE021A41FB92}" srcOrd="0" destOrd="0" presId="urn:microsoft.com/office/officeart/2005/8/layout/vList5"/>
    <dgm:cxn modelId="{D40A643F-5A04-9445-9FD1-9756A5164105}" type="presParOf" srcId="{5325FF06-BE85-6742-9495-B8F42BFC9B7F}" destId="{B50C389E-3FF5-B943-8D14-47753ABB2CF6}" srcOrd="3" destOrd="0" presId="urn:microsoft.com/office/officeart/2005/8/layout/vList5"/>
    <dgm:cxn modelId="{1AF31E6A-4D7D-DB44-B273-0CE664358BBD}" type="presParOf" srcId="{5325FF06-BE85-6742-9495-B8F42BFC9B7F}" destId="{FD842771-B171-E041-97F9-0190BBC38465}" srcOrd="4" destOrd="0" presId="urn:microsoft.com/office/officeart/2005/8/layout/vList5"/>
    <dgm:cxn modelId="{B53F02BD-A191-404C-9D2B-B3CBB0B01C24}"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7BC2DB20-EFFD-4E7B-93C1-553BACDC421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7F8E31E-1B1C-F149-9A39-566188585147}">
      <dgm:prSet custT="1"/>
      <dgm:spPr/>
      <dgm:t>
        <a:bodyPr/>
        <a:lstStyle/>
        <a:p>
          <a:pPr algn="l"/>
          <a:r>
            <a:rPr lang="en-CA" sz="2800" dirty="0"/>
            <a:t>the auditor</a:t>
          </a:r>
          <a:endParaRPr lang="en-US" sz="2800" dirty="0"/>
        </a:p>
      </dgm:t>
    </dgm:pt>
    <dgm:pt modelId="{60043F22-9C63-F145-8474-C67C8E85B0B9}" type="parTrans" cxnId="{615406F6-D0B8-0245-9E00-073C3BB9C651}">
      <dgm:prSet/>
      <dgm:spPr/>
      <dgm:t>
        <a:bodyPr/>
        <a:lstStyle/>
        <a:p>
          <a:endParaRPr lang="en-US"/>
        </a:p>
      </dgm:t>
    </dgm:pt>
    <dgm:pt modelId="{16B77DF7-D52B-F548-A328-D34CAF170508}" type="sibTrans" cxnId="{615406F6-D0B8-0245-9E00-073C3BB9C651}">
      <dgm:prSet/>
      <dgm:spPr/>
      <dgm:t>
        <a:bodyPr/>
        <a:lstStyle/>
        <a:p>
          <a:endParaRPr lang="en-US"/>
        </a:p>
      </dgm:t>
    </dgm:pt>
    <dgm:pt modelId="{CFD475EB-E371-4E1B-B52F-2330D78E893F}" type="pres">
      <dgm:prSet presAssocID="{7BC2DB20-EFFD-4E7B-93C1-553BACDC4218}" presName="linear" presStyleCnt="0">
        <dgm:presLayoutVars>
          <dgm:animLvl val="lvl"/>
          <dgm:resizeHandles val="exact"/>
        </dgm:presLayoutVars>
      </dgm:prSet>
      <dgm:spPr/>
    </dgm:pt>
    <dgm:pt modelId="{D318CF66-E904-4B8F-9EF2-32A9C2878F07}" type="pres">
      <dgm:prSet presAssocID="{C7F8E31E-1B1C-F149-9A39-566188585147}" presName="parentText" presStyleLbl="node1" presStyleIdx="0" presStyleCnt="1" custLinFactNeighborX="29613" custLinFactNeighborY="43693">
        <dgm:presLayoutVars>
          <dgm:chMax val="0"/>
          <dgm:bulletEnabled val="1"/>
        </dgm:presLayoutVars>
      </dgm:prSet>
      <dgm:spPr/>
    </dgm:pt>
  </dgm:ptLst>
  <dgm:cxnLst>
    <dgm:cxn modelId="{BC01D10A-1C2D-4446-8E99-45C0487CD7F3}" type="presOf" srcId="{C7F8E31E-1B1C-F149-9A39-566188585147}" destId="{D318CF66-E904-4B8F-9EF2-32A9C2878F07}" srcOrd="0" destOrd="0" presId="urn:microsoft.com/office/officeart/2005/8/layout/vList2"/>
    <dgm:cxn modelId="{FEBC1B96-FD53-E248-8388-99728BD3DC57}" type="presOf" srcId="{7BC2DB20-EFFD-4E7B-93C1-553BACDC4218}" destId="{CFD475EB-E371-4E1B-B52F-2330D78E893F}" srcOrd="0" destOrd="0" presId="urn:microsoft.com/office/officeart/2005/8/layout/vList2"/>
    <dgm:cxn modelId="{615406F6-D0B8-0245-9E00-073C3BB9C651}" srcId="{7BC2DB20-EFFD-4E7B-93C1-553BACDC4218}" destId="{C7F8E31E-1B1C-F149-9A39-566188585147}" srcOrd="0" destOrd="0" parTransId="{60043F22-9C63-F145-8474-C67C8E85B0B9}" sibTransId="{16B77DF7-D52B-F548-A328-D34CAF170508}"/>
    <dgm:cxn modelId="{3CAF7A27-FC0A-D04A-9600-F1A39C4E567E}" type="presParOf" srcId="{CFD475EB-E371-4E1B-B52F-2330D78E893F}" destId="{D318CF66-E904-4B8F-9EF2-32A9C2878F07}"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a:t>page 20</a:t>
          </a:r>
          <a:endParaRPr lang="en-US" dirty="0"/>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4F8F00F-455E-AE40-9961-CCE1A3B4B946}" type="presOf" srcId="{5D62F0D9-F62E-470E-86C1-99BBA8E85072}" destId="{8A46F5DD-BBB3-4FA2-8F4F-67830FF58BA8}" srcOrd="0" destOrd="0" presId="urn:microsoft.com/office/officeart/2005/8/layout/cycle2"/>
    <dgm:cxn modelId="{90BF15A0-C6AB-BF48-A563-DD28AFCEF9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0E5191FF-D09D-1349-8038-797A8A7421D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F266273-9237-774E-B30E-ECCC42576AFF}" type="presOf" srcId="{5D62F0D9-F62E-470E-86C1-99BBA8E85072}" destId="{8A46F5DD-BBB3-4FA2-8F4F-67830FF58BA8}" srcOrd="0" destOrd="0" presId="urn:microsoft.com/office/officeart/2005/8/layout/cycle2"/>
    <dgm:cxn modelId="{DD144285-53A4-D047-BA20-703E9ADE543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C720071E-402D-894A-BC34-B617426F7C8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rint / pdf</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B9B532DC-7579-A74D-A3A9-E4A357178627}">
      <dgm:prSet/>
      <dgm:spPr/>
      <dgm:t>
        <a:bodyPr/>
        <a:lstStyle/>
        <a:p>
          <a:pPr rtl="0"/>
          <a:r>
            <a:rPr lang="en-CA" dirty="0"/>
            <a:t>t183</a:t>
          </a:r>
        </a:p>
      </dgm:t>
    </dgm:pt>
    <dgm:pt modelId="{7114159D-1D93-7D4B-9DB1-F4C808F73DF0}" type="parTrans" cxnId="{20B7C17F-1543-1944-A2F3-5A06AEABE0AF}">
      <dgm:prSet/>
      <dgm:spPr/>
      <dgm:t>
        <a:bodyPr/>
        <a:lstStyle/>
        <a:p>
          <a:endParaRPr lang="en-CA"/>
        </a:p>
      </dgm:t>
    </dgm:pt>
    <dgm:pt modelId="{9D9340EA-F9F1-8E48-B19A-6C6ED50DF54C}" type="sibTrans" cxnId="{20B7C17F-1543-1944-A2F3-5A06AEABE0AF}">
      <dgm:prSet/>
      <dgm:spPr/>
      <dgm:t>
        <a:bodyPr/>
        <a:lstStyle/>
        <a:p>
          <a:endParaRPr lang="en-CA"/>
        </a:p>
      </dgm:t>
    </dgm:pt>
    <dgm:pt modelId="{E9E1A492-A442-6C43-A079-9B2482565921}">
      <dgm:prSet/>
      <dgm:spPr/>
      <dgm:t>
        <a:bodyPr/>
        <a:lstStyle/>
        <a:p>
          <a:pPr rtl="0"/>
          <a:r>
            <a:rPr lang="en-CA" dirty="0"/>
            <a:t>EFILE</a:t>
          </a:r>
        </a:p>
      </dgm:t>
    </dgm:pt>
    <dgm:pt modelId="{F39FAEFA-8DEA-E142-8952-745FE877BDDD}" type="parTrans" cxnId="{31679A34-BC1C-9B47-A465-8310BC622C96}">
      <dgm:prSet/>
      <dgm:spPr/>
      <dgm:t>
        <a:bodyPr/>
        <a:lstStyle/>
        <a:p>
          <a:endParaRPr lang="en-CA"/>
        </a:p>
      </dgm:t>
    </dgm:pt>
    <dgm:pt modelId="{8DF5F8B3-18E1-2741-93BA-87118D4666ED}" type="sibTrans" cxnId="{31679A34-BC1C-9B47-A465-8310BC622C9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3102A204-CFA1-49DA-9E45-B3B3B1A31762}" type="pres">
      <dgm:prSet presAssocID="{ABC1C475-5434-1B41-BC48-ADC728C8CBF7}" presName="sp" presStyleCnt="0"/>
      <dgm:spPr/>
    </dgm:pt>
    <dgm:pt modelId="{40B2F0A7-07FD-DE44-93FE-C691888A98AE}" type="pres">
      <dgm:prSet presAssocID="{B9B532DC-7579-A74D-A3A9-E4A357178627}" presName="linNode" presStyleCnt="0"/>
      <dgm:spPr/>
    </dgm:pt>
    <dgm:pt modelId="{A852D1B0-E251-8948-897D-AE021A41FB92}" type="pres">
      <dgm:prSet presAssocID="{B9B532DC-7579-A74D-A3A9-E4A357178627}" presName="parentText" presStyleLbl="node1" presStyleIdx="1" presStyleCnt="3">
        <dgm:presLayoutVars>
          <dgm:chMax val="1"/>
          <dgm:bulletEnabled val="1"/>
        </dgm:presLayoutVars>
      </dgm:prSet>
      <dgm:spPr/>
    </dgm:pt>
    <dgm:pt modelId="{B50C389E-3FF5-B943-8D14-47753ABB2CF6}" type="pres">
      <dgm:prSet presAssocID="{9D9340EA-F9F1-8E48-B19A-6C6ED50DF54C}" presName="sp" presStyleCnt="0"/>
      <dgm:spPr/>
    </dgm:pt>
    <dgm:pt modelId="{FD842771-B171-E041-97F9-0190BBC38465}" type="pres">
      <dgm:prSet presAssocID="{E9E1A492-A442-6C43-A079-9B2482565921}" presName="linNode" presStyleCnt="0"/>
      <dgm:spPr/>
    </dgm:pt>
    <dgm:pt modelId="{E6704DB2-E16D-1E4B-AFE4-05665699DFD3}" type="pres">
      <dgm:prSet presAssocID="{E9E1A492-A442-6C43-A079-9B2482565921}" presName="parentText" presStyleLbl="node1" presStyleIdx="2" presStyleCnt="3">
        <dgm:presLayoutVars>
          <dgm:chMax val="1"/>
          <dgm:bulletEnabled val="1"/>
        </dgm:presLayoutVars>
      </dgm:prSet>
      <dgm:spPr/>
    </dgm:pt>
  </dgm:ptLst>
  <dgm:cxnLst>
    <dgm:cxn modelId="{8D622533-0709-134F-9785-6D04F57B6912}" type="presOf" srcId="{E9E1A492-A442-6C43-A079-9B2482565921}" destId="{E6704DB2-E16D-1E4B-AFE4-05665699DFD3}" srcOrd="0" destOrd="0" presId="urn:microsoft.com/office/officeart/2005/8/layout/vList5"/>
    <dgm:cxn modelId="{31679A34-BC1C-9B47-A465-8310BC622C96}" srcId="{02BA0D8E-884F-D545-BFF7-95207C181DAB}" destId="{E9E1A492-A442-6C43-A079-9B2482565921}" srcOrd="2" destOrd="0" parTransId="{F39FAEFA-8DEA-E142-8952-745FE877BDDD}" sibTransId="{8DF5F8B3-18E1-2741-93BA-87118D4666ED}"/>
    <dgm:cxn modelId="{77DE8A7D-AD10-5A4B-AB6B-048C16514595}" type="presOf" srcId="{CF0461F7-EC97-BB41-A574-9C1E3009EACC}" destId="{43DEFE45-1517-3942-920E-48C520E9C0B4}" srcOrd="0" destOrd="0" presId="urn:microsoft.com/office/officeart/2005/8/layout/vList5"/>
    <dgm:cxn modelId="{20B7C17F-1543-1944-A2F3-5A06AEABE0AF}" srcId="{02BA0D8E-884F-D545-BFF7-95207C181DAB}" destId="{B9B532DC-7579-A74D-A3A9-E4A357178627}" srcOrd="1" destOrd="0" parTransId="{7114159D-1D93-7D4B-9DB1-F4C808F73DF0}" sibTransId="{9D9340EA-F9F1-8E48-B19A-6C6ED50DF54C}"/>
    <dgm:cxn modelId="{674D6C8A-30E6-564D-9142-120BB4D947A9}" srcId="{02BA0D8E-884F-D545-BFF7-95207C181DAB}" destId="{CF0461F7-EC97-BB41-A574-9C1E3009EACC}" srcOrd="0" destOrd="0" parTransId="{B2C709E6-0566-4D4E-97EA-2EBE699D701F}" sibTransId="{ABC1C475-5434-1B41-BC48-ADC728C8CBF7}"/>
    <dgm:cxn modelId="{3880C5DD-38BB-374A-B7BA-A92D4E768F8A}" type="presOf" srcId="{B9B532DC-7579-A74D-A3A9-E4A357178627}" destId="{A852D1B0-E251-8948-897D-AE021A41FB92}" srcOrd="0" destOrd="0" presId="urn:microsoft.com/office/officeart/2005/8/layout/vList5"/>
    <dgm:cxn modelId="{54C541F8-CBA6-C744-AE47-14D054ED55EE}" type="presOf" srcId="{02BA0D8E-884F-D545-BFF7-95207C181DAB}" destId="{5325FF06-BE85-6742-9495-B8F42BFC9B7F}" srcOrd="0" destOrd="0" presId="urn:microsoft.com/office/officeart/2005/8/layout/vList5"/>
    <dgm:cxn modelId="{5CC2D8DE-DFBD-BF48-8345-4B2F547BA39C}" type="presParOf" srcId="{5325FF06-BE85-6742-9495-B8F42BFC9B7F}" destId="{29217676-BC9A-6F40-9378-16D87FA052B5}" srcOrd="0" destOrd="0" presId="urn:microsoft.com/office/officeart/2005/8/layout/vList5"/>
    <dgm:cxn modelId="{8763DF9A-4F19-5B46-928B-770B43E79BB2}" type="presParOf" srcId="{29217676-BC9A-6F40-9378-16D87FA052B5}" destId="{43DEFE45-1517-3942-920E-48C520E9C0B4}" srcOrd="0" destOrd="0" presId="urn:microsoft.com/office/officeart/2005/8/layout/vList5"/>
    <dgm:cxn modelId="{D0106D64-9B19-414D-BD60-0D141FB21B55}" type="presParOf" srcId="{5325FF06-BE85-6742-9495-B8F42BFC9B7F}" destId="{3102A204-CFA1-49DA-9E45-B3B3B1A31762}" srcOrd="1" destOrd="0" presId="urn:microsoft.com/office/officeart/2005/8/layout/vList5"/>
    <dgm:cxn modelId="{6B131FA0-80BA-C44E-8099-667749F2BC94}" type="presParOf" srcId="{5325FF06-BE85-6742-9495-B8F42BFC9B7F}" destId="{40B2F0A7-07FD-DE44-93FE-C691888A98AE}" srcOrd="2" destOrd="0" presId="urn:microsoft.com/office/officeart/2005/8/layout/vList5"/>
    <dgm:cxn modelId="{12336C49-16A2-6C42-AC35-2444870CB920}" type="presParOf" srcId="{40B2F0A7-07FD-DE44-93FE-C691888A98AE}" destId="{A852D1B0-E251-8948-897D-AE021A41FB92}" srcOrd="0" destOrd="0" presId="urn:microsoft.com/office/officeart/2005/8/layout/vList5"/>
    <dgm:cxn modelId="{CBC528B3-3D18-DD42-A47D-026303D76555}" type="presParOf" srcId="{5325FF06-BE85-6742-9495-B8F42BFC9B7F}" destId="{B50C389E-3FF5-B943-8D14-47753ABB2CF6}" srcOrd="3" destOrd="0" presId="urn:microsoft.com/office/officeart/2005/8/layout/vList5"/>
    <dgm:cxn modelId="{87081BD1-5F4A-4642-8464-73ABEE1751F2}" type="presParOf" srcId="{5325FF06-BE85-6742-9495-B8F42BFC9B7F}" destId="{FD842771-B171-E041-97F9-0190BBC38465}" srcOrd="4" destOrd="0" presId="urn:microsoft.com/office/officeart/2005/8/layout/vList5"/>
    <dgm:cxn modelId="{B276D427-4A32-3B46-9060-63DD2BD08B80}" type="presParOf" srcId="{FD842771-B171-E041-97F9-0190BBC38465}" destId="{E6704DB2-E16D-1E4B-AFE4-05665699DFD3}"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6</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B12AECE8-E731-4B49-AF4B-89711430AF8E}" type="presOf" srcId="{5D62F0D9-F62E-470E-86C1-99BBA8E85072}" destId="{8A46F5DD-BBB3-4FA2-8F4F-67830FF58BA8}" srcOrd="0" destOrd="0" presId="urn:microsoft.com/office/officeart/2005/8/layout/cycle2"/>
    <dgm:cxn modelId="{DCC3C2FC-292E-D348-BA12-CB2B3D88D332}" type="presOf" srcId="{9DF463DA-C321-47BB-A748-44B5D722BDE4}" destId="{03D7DCAF-0535-410C-B056-000B4ED11701}" srcOrd="0" destOrd="0" presId="urn:microsoft.com/office/officeart/2005/8/layout/cycle2"/>
    <dgm:cxn modelId="{776F1AFB-16D4-FD42-86A9-2A59A222FBB7}"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omplex</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DF9F9D04-FBB7-874B-93A1-844B4E7034E6}">
      <dgm:prSet/>
      <dgm:spPr/>
      <dgm:t>
        <a:bodyPr/>
        <a:lstStyle/>
        <a:p>
          <a:pPr rtl="0"/>
          <a:r>
            <a:rPr lang="en-CA" dirty="0"/>
            <a:t>error-prone</a:t>
          </a:r>
        </a:p>
      </dgm:t>
    </dgm:pt>
    <dgm:pt modelId="{4B2C0ECC-3ABC-2A4E-97CC-9D4E4F3A103B}" type="parTrans" cxnId="{0A0C5008-0717-A846-8C43-E2D2DA06B7CC}">
      <dgm:prSet/>
      <dgm:spPr/>
      <dgm:t>
        <a:bodyPr/>
        <a:lstStyle/>
        <a:p>
          <a:endParaRPr lang="en-CA"/>
        </a:p>
      </dgm:t>
    </dgm:pt>
    <dgm:pt modelId="{18409326-6199-DC47-B62C-ADBD3A8B8633}" type="sibTrans" cxnId="{0A0C5008-0717-A846-8C43-E2D2DA06B7CC}">
      <dgm:prSet/>
      <dgm:spPr/>
      <dgm:t>
        <a:bodyPr/>
        <a:lstStyle/>
        <a:p>
          <a:endParaRPr lang="en-CA"/>
        </a:p>
      </dgm:t>
    </dgm:pt>
    <dgm:pt modelId="{D76FD2CC-BDC3-2743-9F08-9F44FEB531BF}">
      <dgm:prSet/>
      <dgm:spPr/>
      <dgm:t>
        <a:bodyPr/>
        <a:lstStyle/>
        <a:p>
          <a:pPr rtl="0"/>
          <a:r>
            <a:rPr lang="en-CA" dirty="0"/>
            <a:t>time-consuming</a:t>
          </a:r>
        </a:p>
      </dgm:t>
    </dgm:pt>
    <dgm:pt modelId="{A31E0354-4123-7448-943A-8794F539BE8F}" type="parTrans" cxnId="{DB97CEB2-15F6-3745-AB57-8F3FED577FC6}">
      <dgm:prSet/>
      <dgm:spPr/>
      <dgm:t>
        <a:bodyPr/>
        <a:lstStyle/>
        <a:p>
          <a:endParaRPr lang="en-CA"/>
        </a:p>
      </dgm:t>
    </dgm:pt>
    <dgm:pt modelId="{62C971E0-3BC8-9945-B200-FE755414DEB2}" type="sibTrans" cxnId="{DB97CEB2-15F6-3745-AB57-8F3FED577FC6}">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3102A204-CFA1-49DA-9E45-B3B3B1A31762}" type="pres">
      <dgm:prSet presAssocID="{ABC1C475-5434-1B41-BC48-ADC728C8CBF7}" presName="sp" presStyleCnt="0"/>
      <dgm:spPr/>
    </dgm:pt>
    <dgm:pt modelId="{83780517-F2CB-D742-8584-D3010F9D4FD6}" type="pres">
      <dgm:prSet presAssocID="{DF9F9D04-FBB7-874B-93A1-844B4E7034E6}" presName="linNode" presStyleCnt="0"/>
      <dgm:spPr/>
    </dgm:pt>
    <dgm:pt modelId="{4BA0BDAE-32EC-304D-8D4D-D71A9D197DC5}" type="pres">
      <dgm:prSet presAssocID="{DF9F9D04-FBB7-874B-93A1-844B4E7034E6}" presName="parentText" presStyleLbl="node1" presStyleIdx="1" presStyleCnt="3">
        <dgm:presLayoutVars>
          <dgm:chMax val="1"/>
          <dgm:bulletEnabled val="1"/>
        </dgm:presLayoutVars>
      </dgm:prSet>
      <dgm:spPr/>
    </dgm:pt>
    <dgm:pt modelId="{D64ED56A-4175-4A43-8EA0-A6903C2C5AEA}" type="pres">
      <dgm:prSet presAssocID="{18409326-6199-DC47-B62C-ADBD3A8B8633}" presName="sp" presStyleCnt="0"/>
      <dgm:spPr/>
    </dgm:pt>
    <dgm:pt modelId="{D72D478D-638A-2846-A624-60EA7F6AAC1D}" type="pres">
      <dgm:prSet presAssocID="{D76FD2CC-BDC3-2743-9F08-9F44FEB531BF}" presName="linNode" presStyleCnt="0"/>
      <dgm:spPr/>
    </dgm:pt>
    <dgm:pt modelId="{E412FB81-2221-2548-A7CC-8CB432C8F306}" type="pres">
      <dgm:prSet presAssocID="{D76FD2CC-BDC3-2743-9F08-9F44FEB531BF}" presName="parentText" presStyleLbl="node1" presStyleIdx="2" presStyleCnt="3">
        <dgm:presLayoutVars>
          <dgm:chMax val="1"/>
          <dgm:bulletEnabled val="1"/>
        </dgm:presLayoutVars>
      </dgm:prSet>
      <dgm:spPr/>
    </dgm:pt>
  </dgm:ptLst>
  <dgm:cxnLst>
    <dgm:cxn modelId="{0A0C5008-0717-A846-8C43-E2D2DA06B7CC}" srcId="{02BA0D8E-884F-D545-BFF7-95207C181DAB}" destId="{DF9F9D04-FBB7-874B-93A1-844B4E7034E6}" srcOrd="1" destOrd="0" parTransId="{4B2C0ECC-3ABC-2A4E-97CC-9D4E4F3A103B}" sibTransId="{18409326-6199-DC47-B62C-ADBD3A8B8633}"/>
    <dgm:cxn modelId="{2CDEB711-5460-2D40-B638-B44CE806BE32}" type="presOf" srcId="{02BA0D8E-884F-D545-BFF7-95207C181DAB}" destId="{5325FF06-BE85-6742-9495-B8F42BFC9B7F}" srcOrd="0" destOrd="0" presId="urn:microsoft.com/office/officeart/2005/8/layout/vList5"/>
    <dgm:cxn modelId="{F7879C21-CA77-444F-ACCE-1E335D047194}" type="presOf" srcId="{DF9F9D04-FBB7-874B-93A1-844B4E7034E6}" destId="{4BA0BDAE-32EC-304D-8D4D-D71A9D197DC5}" srcOrd="0" destOrd="0" presId="urn:microsoft.com/office/officeart/2005/8/layout/vList5"/>
    <dgm:cxn modelId="{893FE127-A0EF-D942-BB6B-6E887B0CE3FE}" type="presOf" srcId="{D76FD2CC-BDC3-2743-9F08-9F44FEB531BF}" destId="{E412FB81-2221-2548-A7CC-8CB432C8F306}"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DB97CEB2-15F6-3745-AB57-8F3FED577FC6}" srcId="{02BA0D8E-884F-D545-BFF7-95207C181DAB}" destId="{D76FD2CC-BDC3-2743-9F08-9F44FEB531BF}" srcOrd="2" destOrd="0" parTransId="{A31E0354-4123-7448-943A-8794F539BE8F}" sibTransId="{62C971E0-3BC8-9945-B200-FE755414DEB2}"/>
    <dgm:cxn modelId="{CDF0DAEE-2AB5-9947-8F10-26214FFA6823}" type="presOf" srcId="{CF0461F7-EC97-BB41-A574-9C1E3009EACC}" destId="{43DEFE45-1517-3942-920E-48C520E9C0B4}" srcOrd="0" destOrd="0" presId="urn:microsoft.com/office/officeart/2005/8/layout/vList5"/>
    <dgm:cxn modelId="{35915AF2-4054-964D-B7DA-12C4A3FCDD54}" type="presParOf" srcId="{5325FF06-BE85-6742-9495-B8F42BFC9B7F}" destId="{29217676-BC9A-6F40-9378-16D87FA052B5}" srcOrd="0" destOrd="0" presId="urn:microsoft.com/office/officeart/2005/8/layout/vList5"/>
    <dgm:cxn modelId="{05F097B1-F5E1-2E4C-A96A-6B74C1E11698}" type="presParOf" srcId="{29217676-BC9A-6F40-9378-16D87FA052B5}" destId="{43DEFE45-1517-3942-920E-48C520E9C0B4}" srcOrd="0" destOrd="0" presId="urn:microsoft.com/office/officeart/2005/8/layout/vList5"/>
    <dgm:cxn modelId="{87DAD7BF-CB0A-BF4E-B25B-BE53637C3D40}" type="presParOf" srcId="{5325FF06-BE85-6742-9495-B8F42BFC9B7F}" destId="{3102A204-CFA1-49DA-9E45-B3B3B1A31762}" srcOrd="1" destOrd="0" presId="urn:microsoft.com/office/officeart/2005/8/layout/vList5"/>
    <dgm:cxn modelId="{9606EB68-37B1-6743-906F-B35EE05D92B6}" type="presParOf" srcId="{5325FF06-BE85-6742-9495-B8F42BFC9B7F}" destId="{83780517-F2CB-D742-8584-D3010F9D4FD6}" srcOrd="2" destOrd="0" presId="urn:microsoft.com/office/officeart/2005/8/layout/vList5"/>
    <dgm:cxn modelId="{9F9A7F4D-5D2C-4149-B481-F0D8B94D8B8F}" type="presParOf" srcId="{83780517-F2CB-D742-8584-D3010F9D4FD6}" destId="{4BA0BDAE-32EC-304D-8D4D-D71A9D197DC5}" srcOrd="0" destOrd="0" presId="urn:microsoft.com/office/officeart/2005/8/layout/vList5"/>
    <dgm:cxn modelId="{BB868AFC-067C-924F-A72A-46E55AC2481B}" type="presParOf" srcId="{5325FF06-BE85-6742-9495-B8F42BFC9B7F}" destId="{D64ED56A-4175-4A43-8EA0-A6903C2C5AEA}" srcOrd="3" destOrd="0" presId="urn:microsoft.com/office/officeart/2005/8/layout/vList5"/>
    <dgm:cxn modelId="{9D37382A-CCCE-894C-879B-B94F4EB47275}" type="presParOf" srcId="{5325FF06-BE85-6742-9495-B8F42BFC9B7F}" destId="{D72D478D-638A-2846-A624-60EA7F6AAC1D}" srcOrd="4" destOrd="0" presId="urn:microsoft.com/office/officeart/2005/8/layout/vList5"/>
    <dgm:cxn modelId="{D6363C8C-E620-934E-A0D3-0224E454F085}" type="presParOf" srcId="{D72D478D-638A-2846-A624-60EA7F6AAC1D}" destId="{E412FB81-2221-2548-A7CC-8CB432C8F306}"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64B8D75E-CAB1-2E4D-9DA1-4D41007FC926}" type="presOf" srcId="{5D62F0D9-F62E-470E-86C1-99BBA8E85072}" destId="{8A46F5DD-BBB3-4FA2-8F4F-67830FF58BA8}" srcOrd="0" destOrd="0" presId="urn:microsoft.com/office/officeart/2005/8/layout/cycle2"/>
    <dgm:cxn modelId="{5FA03277-5BF4-0442-B406-51E63A59AC7B}"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D8E9AF16-B681-1B4C-81B7-066B5944EFD0}"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INFO pag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pt>
  </dgm:ptLst>
  <dgm:cxnLst>
    <dgm:cxn modelId="{CD4EE322-952B-684E-ACD5-2D8FD4BBCAE4}" type="presOf" srcId="{02BA0D8E-884F-D545-BFF7-95207C181DAB}" destId="{5325FF06-BE85-6742-9495-B8F42BFC9B7F}" srcOrd="0" destOrd="0" presId="urn:microsoft.com/office/officeart/2005/8/layout/vList5"/>
    <dgm:cxn modelId="{EF22157A-BDC8-1D49-A71F-E5504C88006C}" type="presOf" srcId="{CF0461F7-EC97-BB41-A574-9C1E3009EACC}" destId="{43DEFE45-1517-3942-920E-48C520E9C0B4}"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C7E2FA29-609E-0C42-98CE-BFF36504691B}" type="presParOf" srcId="{5325FF06-BE85-6742-9495-B8F42BFC9B7F}" destId="{29217676-BC9A-6F40-9378-16D87FA052B5}" srcOrd="0" destOrd="0" presId="urn:microsoft.com/office/officeart/2005/8/layout/vList5"/>
    <dgm:cxn modelId="{B2E08803-FA2E-F741-AD88-0595219C0A0E}"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B2C9F9AB-2A8E-3742-8F8B-3F74637D80D5}" type="presOf" srcId="{5D62F0D9-F62E-470E-86C1-99BBA8E85072}" destId="{8A46F5DD-BBB3-4FA2-8F4F-67830FF58BA8}" srcOrd="0" destOrd="0" presId="urn:microsoft.com/office/officeart/2005/8/layout/cycle2"/>
    <dgm:cxn modelId="{0ABED1B0-900E-144A-853C-8F53A4828CF1}"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A812C98-2F0D-9C4A-B84B-8CE122920E3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Automatic calcul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42F81AB6-DEAB-9E4F-BC5E-BB6E9FCF1BA0}">
      <dgm:prSet/>
      <dgm:spPr/>
      <dgm:t>
        <a:bodyPr/>
        <a:lstStyle/>
        <a:p>
          <a:pPr rtl="0"/>
          <a:r>
            <a:rPr lang="en-CA" dirty="0"/>
            <a:t>Slip-entry</a:t>
          </a:r>
        </a:p>
      </dgm:t>
    </dgm:pt>
    <dgm:pt modelId="{62878126-AF33-E549-8E58-E222820DB661}" type="parTrans" cxnId="{5B86BF56-8A23-8846-9C98-6ABED56B0C0B}">
      <dgm:prSet/>
      <dgm:spPr/>
      <dgm:t>
        <a:bodyPr/>
        <a:lstStyle/>
        <a:p>
          <a:endParaRPr lang="en-CA"/>
        </a:p>
      </dgm:t>
    </dgm:pt>
    <dgm:pt modelId="{050E7FCB-952C-1547-8554-612206C64653}" type="sibTrans" cxnId="{5B86BF56-8A23-8846-9C98-6ABED56B0C0B}">
      <dgm:prSet/>
      <dgm:spPr/>
      <dgm:t>
        <a:bodyPr/>
        <a:lstStyle/>
        <a:p>
          <a:endParaRPr lang="en-CA"/>
        </a:p>
      </dgm:t>
    </dgm:pt>
    <dgm:pt modelId="{C20F18C9-26B1-6F47-B3AA-CFCAC1FDE96B}">
      <dgm:prSet/>
      <dgm:spPr/>
      <dgm:t>
        <a:bodyPr/>
        <a:lstStyle/>
        <a:p>
          <a:pPr rtl="0"/>
          <a:r>
            <a:rPr lang="en-CA" dirty="0"/>
            <a:t>T1 jacket prep</a:t>
          </a:r>
        </a:p>
      </dgm:t>
    </dgm:pt>
    <dgm:pt modelId="{77C678C3-B335-A24A-BE8C-ABBE133F5894}" type="parTrans" cxnId="{827D8C3A-8272-8D42-9E3E-C186EE9DD049}">
      <dgm:prSet/>
      <dgm:spPr/>
      <dgm:t>
        <a:bodyPr/>
        <a:lstStyle/>
        <a:p>
          <a:endParaRPr lang="en-CA"/>
        </a:p>
      </dgm:t>
    </dgm:pt>
    <dgm:pt modelId="{7FCD9E00-6157-9744-80DF-4E4C741998DC}" type="sibTrans" cxnId="{827D8C3A-8272-8D42-9E3E-C186EE9DD04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3102A204-CFA1-49DA-9E45-B3B3B1A31762}" type="pres">
      <dgm:prSet presAssocID="{ABC1C475-5434-1B41-BC48-ADC728C8CBF7}" presName="sp" presStyleCnt="0"/>
      <dgm:spPr/>
    </dgm:pt>
    <dgm:pt modelId="{D8278BCC-73DF-AD43-B8AA-B88E727AAF69}" type="pres">
      <dgm:prSet presAssocID="{42F81AB6-DEAB-9E4F-BC5E-BB6E9FCF1BA0}" presName="linNode" presStyleCnt="0"/>
      <dgm:spPr/>
    </dgm:pt>
    <dgm:pt modelId="{D5686BA3-E317-9A43-8A5E-8D2F521AE8D0}" type="pres">
      <dgm:prSet presAssocID="{42F81AB6-DEAB-9E4F-BC5E-BB6E9FCF1BA0}" presName="parentText" presStyleLbl="node1" presStyleIdx="1" presStyleCnt="3">
        <dgm:presLayoutVars>
          <dgm:chMax val="1"/>
          <dgm:bulletEnabled val="1"/>
        </dgm:presLayoutVars>
      </dgm:prSet>
      <dgm:spPr/>
    </dgm:pt>
    <dgm:pt modelId="{D89576E9-CE52-8340-B31E-0282D2DC4CBF}" type="pres">
      <dgm:prSet presAssocID="{050E7FCB-952C-1547-8554-612206C64653}" presName="sp" presStyleCnt="0"/>
      <dgm:spPr/>
    </dgm:pt>
    <dgm:pt modelId="{762E75A5-833E-7C41-BC91-F962004362EE}" type="pres">
      <dgm:prSet presAssocID="{C20F18C9-26B1-6F47-B3AA-CFCAC1FDE96B}" presName="linNode" presStyleCnt="0"/>
      <dgm:spPr/>
    </dgm:pt>
    <dgm:pt modelId="{639603DD-ACD8-974E-A8B5-F210C921683E}" type="pres">
      <dgm:prSet presAssocID="{C20F18C9-26B1-6F47-B3AA-CFCAC1FDE96B}" presName="parentText" presStyleLbl="node1" presStyleIdx="2" presStyleCnt="3">
        <dgm:presLayoutVars>
          <dgm:chMax val="1"/>
          <dgm:bulletEnabled val="1"/>
        </dgm:presLayoutVars>
      </dgm:prSet>
      <dgm:spPr/>
    </dgm:pt>
  </dgm:ptLst>
  <dgm:cxnLst>
    <dgm:cxn modelId="{358E9D31-1233-1244-9004-FD6A3E7C74E0}" type="presOf" srcId="{42F81AB6-DEAB-9E4F-BC5E-BB6E9FCF1BA0}" destId="{D5686BA3-E317-9A43-8A5E-8D2F521AE8D0}" srcOrd="0" destOrd="0" presId="urn:microsoft.com/office/officeart/2005/8/layout/vList5"/>
    <dgm:cxn modelId="{827D8C3A-8272-8D42-9E3E-C186EE9DD049}" srcId="{02BA0D8E-884F-D545-BFF7-95207C181DAB}" destId="{C20F18C9-26B1-6F47-B3AA-CFCAC1FDE96B}" srcOrd="2" destOrd="0" parTransId="{77C678C3-B335-A24A-BE8C-ABBE133F5894}" sibTransId="{7FCD9E00-6157-9744-80DF-4E4C741998DC}"/>
    <dgm:cxn modelId="{5B86BF56-8A23-8846-9C98-6ABED56B0C0B}" srcId="{02BA0D8E-884F-D545-BFF7-95207C181DAB}" destId="{42F81AB6-DEAB-9E4F-BC5E-BB6E9FCF1BA0}" srcOrd="1" destOrd="0" parTransId="{62878126-AF33-E549-8E58-E222820DB661}" sibTransId="{050E7FCB-952C-1547-8554-612206C64653}"/>
    <dgm:cxn modelId="{66F4225F-CEA3-1447-B507-EA376BA7C8C5}"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8F8B2EDC-5BA4-884F-A432-63F5E09A34A3}" type="presOf" srcId="{CF0461F7-EC97-BB41-A574-9C1E3009EACC}" destId="{43DEFE45-1517-3942-920E-48C520E9C0B4}" srcOrd="0" destOrd="0" presId="urn:microsoft.com/office/officeart/2005/8/layout/vList5"/>
    <dgm:cxn modelId="{06E69DE7-7DE6-774F-9AA3-9EA937729A67}" type="presOf" srcId="{C20F18C9-26B1-6F47-B3AA-CFCAC1FDE96B}" destId="{639603DD-ACD8-974E-A8B5-F210C921683E}" srcOrd="0" destOrd="0" presId="urn:microsoft.com/office/officeart/2005/8/layout/vList5"/>
    <dgm:cxn modelId="{863BF9BB-430B-DA49-93DE-4A4EBFF4B44C}" type="presParOf" srcId="{5325FF06-BE85-6742-9495-B8F42BFC9B7F}" destId="{29217676-BC9A-6F40-9378-16D87FA052B5}" srcOrd="0" destOrd="0" presId="urn:microsoft.com/office/officeart/2005/8/layout/vList5"/>
    <dgm:cxn modelId="{5A7C433F-DFFF-BA43-8BDF-0168F8930137}" type="presParOf" srcId="{29217676-BC9A-6F40-9378-16D87FA052B5}" destId="{43DEFE45-1517-3942-920E-48C520E9C0B4}" srcOrd="0" destOrd="0" presId="urn:microsoft.com/office/officeart/2005/8/layout/vList5"/>
    <dgm:cxn modelId="{EA66DBFA-1BF4-4A42-BD0A-C52A885D5E70}" type="presParOf" srcId="{5325FF06-BE85-6742-9495-B8F42BFC9B7F}" destId="{3102A204-CFA1-49DA-9E45-B3B3B1A31762}" srcOrd="1" destOrd="0" presId="urn:microsoft.com/office/officeart/2005/8/layout/vList5"/>
    <dgm:cxn modelId="{88E145C2-ACBC-AD4F-9FCB-423DB74EDD4B}" type="presParOf" srcId="{5325FF06-BE85-6742-9495-B8F42BFC9B7F}" destId="{D8278BCC-73DF-AD43-B8AA-B88E727AAF69}" srcOrd="2" destOrd="0" presId="urn:microsoft.com/office/officeart/2005/8/layout/vList5"/>
    <dgm:cxn modelId="{F14645F5-2F85-004A-9AFF-DAF346D675A0}" type="presParOf" srcId="{D8278BCC-73DF-AD43-B8AA-B88E727AAF69}" destId="{D5686BA3-E317-9A43-8A5E-8D2F521AE8D0}" srcOrd="0" destOrd="0" presId="urn:microsoft.com/office/officeart/2005/8/layout/vList5"/>
    <dgm:cxn modelId="{71F42634-2478-A940-BEEE-B73A4904608C}" type="presParOf" srcId="{5325FF06-BE85-6742-9495-B8F42BFC9B7F}" destId="{D89576E9-CE52-8340-B31E-0282D2DC4CBF}" srcOrd="3" destOrd="0" presId="urn:microsoft.com/office/officeart/2005/8/layout/vList5"/>
    <dgm:cxn modelId="{C001EEC5-E2BF-3341-BFA8-BB9EB9FFF393}" type="presParOf" srcId="{5325FF06-BE85-6742-9495-B8F42BFC9B7F}" destId="{762E75A5-833E-7C41-BC91-F962004362EE}" srcOrd="4" destOrd="0" presId="urn:microsoft.com/office/officeart/2005/8/layout/vList5"/>
    <dgm:cxn modelId="{520589CF-7C5A-2648-A9C7-915DD89476E0}" type="presParOf" srcId="{762E75A5-833E-7C41-BC91-F962004362EE}" destId="{639603DD-ACD8-974E-A8B5-F210C921683E}"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0FE1F568-A68A-7048-ACFD-0CA2E09332F5}" type="presOf" srcId="{5D62F0D9-F62E-470E-86C1-99BBA8E85072}" destId="{8A46F5DD-BBB3-4FA2-8F4F-67830FF58BA8}" srcOrd="0" destOrd="0" presId="urn:microsoft.com/office/officeart/2005/8/layout/cycle2"/>
    <dgm:cxn modelId="{00B1FEB6-14FC-6E4A-8CDF-DF58F870B138}"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67A42486-9731-B942-85C2-3F584D39769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aper VS ProFil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pt>
  </dgm:ptLst>
  <dgm:cxnLst>
    <dgm:cxn modelId="{674D6C8A-30E6-564D-9142-120BB4D947A9}" srcId="{02BA0D8E-884F-D545-BFF7-95207C181DAB}" destId="{CF0461F7-EC97-BB41-A574-9C1E3009EACC}" srcOrd="0" destOrd="0" parTransId="{B2C709E6-0566-4D4E-97EA-2EBE699D701F}" sibTransId="{ABC1C475-5434-1B41-BC48-ADC728C8CBF7}"/>
    <dgm:cxn modelId="{68943FA6-1BDB-ED43-866F-3A83BD8E1E52}" type="presOf" srcId="{CF0461F7-EC97-BB41-A574-9C1E3009EACC}" destId="{43DEFE45-1517-3942-920E-48C520E9C0B4}" srcOrd="0" destOrd="0" presId="urn:microsoft.com/office/officeart/2005/8/layout/vList5"/>
    <dgm:cxn modelId="{7AEA7FB6-1A81-3D4F-BDDE-429AC3DA45ED}" type="presOf" srcId="{02BA0D8E-884F-D545-BFF7-95207C181DAB}" destId="{5325FF06-BE85-6742-9495-B8F42BFC9B7F}" srcOrd="0" destOrd="0" presId="urn:microsoft.com/office/officeart/2005/8/layout/vList5"/>
    <dgm:cxn modelId="{6606D965-C245-2746-844E-FC9955AAA50F}" type="presParOf" srcId="{5325FF06-BE85-6742-9495-B8F42BFC9B7F}" destId="{29217676-BC9A-6F40-9378-16D87FA052B5}" srcOrd="0" destOrd="0" presId="urn:microsoft.com/office/officeart/2005/8/layout/vList5"/>
    <dgm:cxn modelId="{BCFE5A1B-5076-0443-95CD-E658B769C8A4}"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rtl="0">
            <a:lnSpc>
              <a:spcPct val="90000"/>
            </a:lnSpc>
            <a:spcBef>
              <a:spcPct val="0"/>
            </a:spcBef>
            <a:spcAft>
              <a:spcPct val="15000"/>
            </a:spcAft>
            <a:buChar char="•"/>
          </a:pPr>
          <a:r>
            <a:rPr lang="en-CA" sz="2900" kern="1200" dirty="0"/>
            <a:t>Paper VS ProFile</a:t>
          </a:r>
        </a:p>
        <a:p>
          <a:pPr marL="285750" lvl="1" indent="-285750" algn="l" defTabSz="1289050" rtl="0">
            <a:lnSpc>
              <a:spcPct val="90000"/>
            </a:lnSpc>
            <a:spcBef>
              <a:spcPct val="0"/>
            </a:spcBef>
            <a:spcAft>
              <a:spcPct val="15000"/>
            </a:spcAft>
            <a:buChar char="•"/>
          </a:pPr>
          <a:r>
            <a:rPr lang="en-CA" sz="2900" kern="1200" dirty="0"/>
            <a:t>An individual T1</a:t>
          </a:r>
        </a:p>
        <a:p>
          <a:pPr marL="285750" lvl="1" indent="-285750" algn="l" defTabSz="1289050" rtl="0">
            <a:lnSpc>
              <a:spcPct val="90000"/>
            </a:lnSpc>
            <a:spcBef>
              <a:spcPct val="0"/>
            </a:spcBef>
            <a:spcAft>
              <a:spcPct val="15000"/>
            </a:spcAft>
            <a:buChar char="•"/>
          </a:pPr>
          <a:r>
            <a:rPr lang="en-CA" sz="2900" kern="1200" dirty="0"/>
            <a:t>A Spousal T1</a:t>
          </a:r>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marL="0" lvl="0" indent="0" algn="ctr" defTabSz="2489200" rtl="0">
            <a:lnSpc>
              <a:spcPct val="90000"/>
            </a:lnSpc>
            <a:spcBef>
              <a:spcPct val="0"/>
            </a:spcBef>
            <a:spcAft>
              <a:spcPct val="35000"/>
            </a:spcAft>
            <a:buNone/>
          </a:pPr>
          <a:r>
            <a:rPr lang="en-CA" sz="5600" kern="1200" dirty="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2</a:t>
          </a:r>
        </a:p>
      </dsp:txBody>
      <dsp:txXfrm>
        <a:off x="436926" y="196974"/>
        <a:ext cx="949190" cy="94919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marL="0" lvl="0" indent="0" algn="ctr" defTabSz="933450" rtl="0">
            <a:lnSpc>
              <a:spcPct val="90000"/>
            </a:lnSpc>
            <a:spcBef>
              <a:spcPct val="0"/>
            </a:spcBef>
            <a:spcAft>
              <a:spcPct val="35000"/>
            </a:spcAft>
            <a:buNone/>
          </a:pPr>
          <a:r>
            <a:rPr lang="en-CA" sz="2100" kern="1200" dirty="0"/>
            <a:t>a tax practitioner approach</a:t>
          </a:r>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marL="0" lvl="0" indent="0" algn="ctr" defTabSz="933450" rtl="0">
            <a:lnSpc>
              <a:spcPct val="90000"/>
            </a:lnSpc>
            <a:spcBef>
              <a:spcPct val="0"/>
            </a:spcBef>
            <a:spcAft>
              <a:spcPct val="35000"/>
            </a:spcAft>
            <a:buNone/>
          </a:pPr>
          <a:r>
            <a:rPr lang="en-CA" sz="2100" kern="1200" dirty="0"/>
            <a:t>T1013</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0010" tIns="40005" rIns="80010" bIns="40005" numCol="1" spcCol="1270" anchor="ctr" anchorCtr="0">
          <a:noAutofit/>
        </a:bodyPr>
        <a:lstStyle/>
        <a:p>
          <a:pPr marL="0" lvl="0" indent="0" algn="ctr" defTabSz="933450" rtl="0">
            <a:lnSpc>
              <a:spcPct val="90000"/>
            </a:lnSpc>
            <a:spcBef>
              <a:spcPct val="0"/>
            </a:spcBef>
            <a:spcAft>
              <a:spcPct val="35000"/>
            </a:spcAft>
            <a:buNone/>
          </a:pPr>
          <a:r>
            <a:rPr lang="en-CA" sz="2100" kern="1200" dirty="0"/>
            <a:t>spousal return</a:t>
          </a:r>
        </a:p>
      </dsp:txBody>
      <dsp:txXfrm>
        <a:off x="2063296" y="1557638"/>
        <a:ext cx="2210706" cy="653649"/>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5</a:t>
          </a:r>
        </a:p>
      </dsp:txBody>
      <dsp:txXfrm>
        <a:off x="436926" y="196974"/>
        <a:ext cx="949190" cy="94919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data entry</a:t>
          </a:r>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spousal toggle</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slip summary</a:t>
          </a:r>
        </a:p>
      </dsp:txBody>
      <dsp:txXfrm>
        <a:off x="2063296" y="1557638"/>
        <a:ext cx="2210706" cy="65364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318CF66-E904-4B8F-9EF2-32A9C2878F07}">
      <dsp:nvSpPr>
        <dsp:cNvPr id="0" name=""/>
        <dsp:cNvSpPr/>
      </dsp:nvSpPr>
      <dsp:spPr>
        <a:xfrm>
          <a:off x="0" y="1768122"/>
          <a:ext cx="2115755" cy="1216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marL="0" lvl="0" indent="0" algn="l" defTabSz="1244600">
            <a:lnSpc>
              <a:spcPct val="90000"/>
            </a:lnSpc>
            <a:spcBef>
              <a:spcPct val="0"/>
            </a:spcBef>
            <a:spcAft>
              <a:spcPct val="35000"/>
            </a:spcAft>
            <a:buNone/>
          </a:pPr>
          <a:r>
            <a:rPr lang="en-CA" sz="2800" kern="1200" dirty="0"/>
            <a:t>the auditor</a:t>
          </a:r>
          <a:endParaRPr lang="en-US" sz="2800" kern="1200" dirty="0"/>
        </a:p>
      </dsp:txBody>
      <dsp:txXfrm>
        <a:off x="59399" y="1827521"/>
        <a:ext cx="1996957" cy="109800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a:t>page 20</a:t>
          </a:r>
          <a:endParaRPr lang="en-US" sz="3000" kern="1200" dirty="0"/>
        </a:p>
      </dsp:txBody>
      <dsp:txXfrm>
        <a:off x="436926" y="196974"/>
        <a:ext cx="949190" cy="949190"/>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22</a:t>
          </a:r>
        </a:p>
      </dsp:txBody>
      <dsp:txXfrm>
        <a:off x="436926" y="196974"/>
        <a:ext cx="949190" cy="949190"/>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2027935" y="109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en-CA" sz="3600" kern="1200" dirty="0"/>
            <a:t>print / pdf</a:t>
          </a:r>
        </a:p>
      </dsp:txBody>
      <dsp:txXfrm>
        <a:off x="2063296" y="36458"/>
        <a:ext cx="2210706" cy="653649"/>
      </dsp:txXfrm>
    </dsp:sp>
    <dsp:sp modelId="{A852D1B0-E251-8948-897D-AE021A41FB92}">
      <dsp:nvSpPr>
        <dsp:cNvPr id="0" name=""/>
        <dsp:cNvSpPr/>
      </dsp:nvSpPr>
      <dsp:spPr>
        <a:xfrm>
          <a:off x="2027935" y="76168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en-CA" sz="3600" kern="1200" dirty="0"/>
            <a:t>t183</a:t>
          </a:r>
        </a:p>
      </dsp:txBody>
      <dsp:txXfrm>
        <a:off x="2063296" y="797048"/>
        <a:ext cx="2210706" cy="653649"/>
      </dsp:txXfrm>
    </dsp:sp>
    <dsp:sp modelId="{E6704DB2-E16D-1E4B-AFE4-05665699DFD3}">
      <dsp:nvSpPr>
        <dsp:cNvPr id="0" name=""/>
        <dsp:cNvSpPr/>
      </dsp:nvSpPr>
      <dsp:spPr>
        <a:xfrm>
          <a:off x="2027935" y="1522277"/>
          <a:ext cx="2281428" cy="72437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68580" rIns="137160" bIns="68580" numCol="1" spcCol="1270" anchor="ctr" anchorCtr="0">
          <a:noAutofit/>
        </a:bodyPr>
        <a:lstStyle/>
        <a:p>
          <a:pPr marL="0" lvl="0" indent="0" algn="ctr" defTabSz="1600200" rtl="0">
            <a:lnSpc>
              <a:spcPct val="90000"/>
            </a:lnSpc>
            <a:spcBef>
              <a:spcPct val="0"/>
            </a:spcBef>
            <a:spcAft>
              <a:spcPct val="35000"/>
            </a:spcAft>
            <a:buNone/>
          </a:pPr>
          <a:r>
            <a:rPr lang="en-CA" sz="3600" kern="1200" dirty="0"/>
            <a:t>EFILE</a:t>
          </a:r>
        </a:p>
      </dsp:txBody>
      <dsp:txXfrm>
        <a:off x="2063296" y="1557638"/>
        <a:ext cx="2210706" cy="6536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6</a:t>
          </a:r>
        </a:p>
      </dsp:txBody>
      <dsp:txXfrm>
        <a:off x="436926" y="196974"/>
        <a:ext cx="949190" cy="9491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389888" y="1488"/>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en-CA" sz="2000" kern="1200" dirty="0"/>
            <a:t>complex</a:t>
          </a:r>
        </a:p>
      </dsp:txBody>
      <dsp:txXfrm>
        <a:off x="1437838" y="49438"/>
        <a:ext cx="1467724" cy="886354"/>
      </dsp:txXfrm>
    </dsp:sp>
    <dsp:sp modelId="{4BA0BDAE-32EC-304D-8D4D-D71A9D197DC5}">
      <dsp:nvSpPr>
        <dsp:cNvPr id="0" name=""/>
        <dsp:cNvSpPr/>
      </dsp:nvSpPr>
      <dsp:spPr>
        <a:xfrm>
          <a:off x="1389888" y="1032855"/>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en-CA" sz="2000" kern="1200" dirty="0"/>
            <a:t>error-prone</a:t>
          </a:r>
        </a:p>
      </dsp:txBody>
      <dsp:txXfrm>
        <a:off x="1437838" y="1080805"/>
        <a:ext cx="1467724" cy="886354"/>
      </dsp:txXfrm>
    </dsp:sp>
    <dsp:sp modelId="{E412FB81-2221-2548-A7CC-8CB432C8F306}">
      <dsp:nvSpPr>
        <dsp:cNvPr id="0" name=""/>
        <dsp:cNvSpPr/>
      </dsp:nvSpPr>
      <dsp:spPr>
        <a:xfrm>
          <a:off x="1389888" y="2064222"/>
          <a:ext cx="1563624" cy="98225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38100" rIns="76200" bIns="38100" numCol="1" spcCol="1270" anchor="ctr" anchorCtr="0">
          <a:noAutofit/>
        </a:bodyPr>
        <a:lstStyle/>
        <a:p>
          <a:pPr marL="0" lvl="0" indent="0" algn="ctr" defTabSz="889000" rtl="0">
            <a:lnSpc>
              <a:spcPct val="90000"/>
            </a:lnSpc>
            <a:spcBef>
              <a:spcPct val="0"/>
            </a:spcBef>
            <a:spcAft>
              <a:spcPct val="35000"/>
            </a:spcAft>
            <a:buNone/>
          </a:pPr>
          <a:r>
            <a:rPr lang="en-CA" sz="2000" kern="1200" dirty="0"/>
            <a:t>time-consuming</a:t>
          </a:r>
        </a:p>
      </dsp:txBody>
      <dsp:txXfrm>
        <a:off x="1437838" y="2112172"/>
        <a:ext cx="1467724" cy="8863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r>
            <a:rPr lang="en-US" sz="2900" kern="1200" dirty="0"/>
            <a:t>Page 9</a:t>
          </a:r>
        </a:p>
      </dsp:txBody>
      <dsp:txXfrm>
        <a:off x="436926" y="196974"/>
        <a:ext cx="949190" cy="94919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267968" y="0"/>
          <a:ext cx="1426464" cy="161286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5730" tIns="62865" rIns="125730" bIns="62865" numCol="1" spcCol="1270" anchor="ctr" anchorCtr="0">
          <a:noAutofit/>
        </a:bodyPr>
        <a:lstStyle/>
        <a:p>
          <a:pPr marL="0" lvl="0" indent="0" algn="ctr" defTabSz="1466850" rtl="0">
            <a:lnSpc>
              <a:spcPct val="90000"/>
            </a:lnSpc>
            <a:spcBef>
              <a:spcPct val="0"/>
            </a:spcBef>
            <a:spcAft>
              <a:spcPct val="35000"/>
            </a:spcAft>
            <a:buNone/>
          </a:pPr>
          <a:r>
            <a:rPr lang="en-CA" sz="3300" kern="1200" dirty="0"/>
            <a:t>INFO page</a:t>
          </a:r>
        </a:p>
      </dsp:txBody>
      <dsp:txXfrm>
        <a:off x="1337602" y="69634"/>
        <a:ext cx="1287196" cy="147359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0</a:t>
          </a:r>
        </a:p>
      </dsp:txBody>
      <dsp:txXfrm>
        <a:off x="436926" y="196974"/>
        <a:ext cx="949190" cy="94919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11807" y="1430"/>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CA" sz="2200" kern="1200" dirty="0"/>
            <a:t>Automatic calculation</a:t>
          </a:r>
        </a:p>
      </dsp:txBody>
      <dsp:txXfrm>
        <a:off x="1557894" y="47517"/>
        <a:ext cx="1608610" cy="851914"/>
      </dsp:txXfrm>
    </dsp:sp>
    <dsp:sp modelId="{D5686BA3-E317-9A43-8A5E-8D2F521AE8D0}">
      <dsp:nvSpPr>
        <dsp:cNvPr id="0" name=""/>
        <dsp:cNvSpPr/>
      </dsp:nvSpPr>
      <dsp:spPr>
        <a:xfrm>
          <a:off x="1511807" y="992722"/>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CA" sz="2200" kern="1200" dirty="0"/>
            <a:t>Slip-entry</a:t>
          </a:r>
        </a:p>
      </dsp:txBody>
      <dsp:txXfrm>
        <a:off x="1557894" y="1038809"/>
        <a:ext cx="1608610" cy="851914"/>
      </dsp:txXfrm>
    </dsp:sp>
    <dsp:sp modelId="{639603DD-ACD8-974E-A8B5-F210C921683E}">
      <dsp:nvSpPr>
        <dsp:cNvPr id="0" name=""/>
        <dsp:cNvSpPr/>
      </dsp:nvSpPr>
      <dsp:spPr>
        <a:xfrm>
          <a:off x="1511807" y="1984015"/>
          <a:ext cx="1700784" cy="94408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41910" rIns="83820" bIns="41910" numCol="1" spcCol="1270" anchor="ctr" anchorCtr="0">
          <a:noAutofit/>
        </a:bodyPr>
        <a:lstStyle/>
        <a:p>
          <a:pPr marL="0" lvl="0" indent="0" algn="ctr" defTabSz="977900" rtl="0">
            <a:lnSpc>
              <a:spcPct val="90000"/>
            </a:lnSpc>
            <a:spcBef>
              <a:spcPct val="0"/>
            </a:spcBef>
            <a:spcAft>
              <a:spcPct val="35000"/>
            </a:spcAft>
            <a:buNone/>
          </a:pPr>
          <a:r>
            <a:rPr lang="en-CA" sz="2200" kern="1200" dirty="0"/>
            <a:t>T1 jacket prep</a:t>
          </a:r>
        </a:p>
      </dsp:txBody>
      <dsp:txXfrm>
        <a:off x="1557894" y="2030102"/>
        <a:ext cx="1608610" cy="85191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12</a:t>
          </a:r>
        </a:p>
      </dsp:txBody>
      <dsp:txXfrm>
        <a:off x="436926" y="196974"/>
        <a:ext cx="949190" cy="94919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33727" y="0"/>
          <a:ext cx="1837944" cy="16764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rtl="0">
            <a:lnSpc>
              <a:spcPct val="90000"/>
            </a:lnSpc>
            <a:spcBef>
              <a:spcPct val="0"/>
            </a:spcBef>
            <a:spcAft>
              <a:spcPct val="35000"/>
            </a:spcAft>
            <a:buNone/>
          </a:pPr>
          <a:r>
            <a:rPr lang="en-CA" sz="3400" kern="1200" dirty="0"/>
            <a:t>paper VS ProFile</a:t>
          </a:r>
        </a:p>
      </dsp:txBody>
      <dsp:txXfrm>
        <a:off x="1715562" y="81835"/>
        <a:ext cx="1674274" cy="1512730"/>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18-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a:t>
            </a:r>
            <a:r>
              <a:rPr lang="en-US" baseline="0"/>
              <a:t>page 22 </a:t>
            </a:r>
            <a:r>
              <a:rPr lang="en-US" baseline="0" dirty="0"/>
              <a:t>and mention </a:t>
            </a:r>
            <a:r>
              <a:rPr lang="en-US" sz="1200" kern="1200" baseline="0" dirty="0">
                <a:solidFill>
                  <a:schemeClr val="tx1"/>
                </a:solidFill>
                <a:effectLst/>
                <a:latin typeface="+mn-lt"/>
                <a:ea typeface="+mn-ea"/>
                <a:cs typeface="+mn-cs"/>
              </a:rPr>
              <a:t>how you can then Print/PDF the T1</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Discuss the importance of a T183</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Describe how to EFILE the returns</a:t>
            </a:r>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111960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5 and explain that a T1 is a personal tax return (just as a T2 is a corporate return and a T3 is a trust return)</a:t>
            </a:r>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13656243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6 and describe the complexity of hand-written T1s. You need:</a:t>
            </a:r>
          </a:p>
          <a:p>
            <a:r>
              <a:rPr lang="en-US" baseline="0" dirty="0"/>
              <a:t>To know which forms to complete</a:t>
            </a:r>
          </a:p>
          <a:p>
            <a:r>
              <a:rPr lang="en-US" baseline="0" dirty="0"/>
              <a:t>To make complex calculations</a:t>
            </a:r>
          </a:p>
          <a:p>
            <a:r>
              <a:rPr lang="en-US" baseline="0" dirty="0"/>
              <a:t>To transfer amounts manually amongst various forms</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16047349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Introduce ProFile prep and describe how all contact info goes on the INFO page (Page 9)</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7079911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0 and describe how you use Forms and Schedules to fill out slips</a:t>
            </a:r>
          </a:p>
          <a:p>
            <a:r>
              <a:rPr lang="en-US" baseline="0" dirty="0"/>
              <a:t>And that ProFile then </a:t>
            </a:r>
          </a:p>
          <a:p>
            <a:pPr marL="171450" indent="-171450">
              <a:buFontTx/>
              <a:buChar char="-"/>
            </a:pPr>
            <a:r>
              <a:rPr lang="en-US" baseline="0" dirty="0"/>
              <a:t>Makes all necessary calculations</a:t>
            </a:r>
          </a:p>
          <a:p>
            <a:pPr marL="171450" indent="-171450">
              <a:buFontTx/>
              <a:buChar char="-"/>
            </a:pPr>
            <a:r>
              <a:rPr lang="en-US" baseline="0" dirty="0"/>
              <a:t>Transfers the necessary amounts to the required forms</a:t>
            </a:r>
          </a:p>
          <a:p>
            <a:pPr marL="171450" indent="-171450">
              <a:buFontTx/>
              <a:buChar char="-"/>
            </a:pPr>
            <a:r>
              <a:rPr lang="en-US" baseline="0" dirty="0"/>
              <a:t>And finally transfers everything to the T1 Jacket</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752821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2 for conclusions</a:t>
            </a:r>
          </a:p>
          <a:p>
            <a:endParaRPr lang="en-US" baseline="0" dirty="0"/>
          </a:p>
          <a:p>
            <a:r>
              <a:rPr lang="en-US" sz="1200" kern="1200" dirty="0">
                <a:solidFill>
                  <a:schemeClr val="tx1"/>
                </a:solidFill>
                <a:effectLst/>
                <a:latin typeface="+mn-lt"/>
                <a:ea typeface="+mn-ea"/>
                <a:cs typeface="+mn-cs"/>
              </a:rPr>
              <a:t>ProFile—at least with a basic T1—provides guided tax preparation that requires you to simply enter information on the required forms and slip (in this example T4 and T2202) and ProFile will then complete the T1 based on those entries. </a:t>
            </a:r>
            <a:endParaRPr lang="en-US" dirty="0"/>
          </a:p>
          <a:p>
            <a:r>
              <a:rPr lang="en-US" sz="1200" kern="1200" dirty="0">
                <a:solidFill>
                  <a:schemeClr val="tx1"/>
                </a:solidFill>
                <a:effectLst/>
                <a:latin typeface="+mn-lt"/>
                <a:ea typeface="+mn-ea"/>
                <a:cs typeface="+mn-cs"/>
              </a:rPr>
              <a:t>Contrast that with the same hand-written example, and the benefits gained by using tax-preparation software are immediately evident.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392042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Refer to page 12 and discuss how a tax practitioner goes about preparing a T1—In this example, a spousal T1</a:t>
            </a:r>
          </a:p>
          <a:p>
            <a:r>
              <a:rPr lang="en-US" baseline="0" dirty="0"/>
              <a:t>Go to pages 13 and discuss the T4s, T5, and donations </a:t>
            </a:r>
          </a:p>
          <a:p>
            <a:r>
              <a:rPr lang="en-US" baseline="0" dirty="0"/>
              <a:t>And then go to Page 14 to describe how to setup a spousal T1 in ProFile</a:t>
            </a:r>
          </a:p>
          <a:p>
            <a:endParaRPr lang="en-US" baseline="0" dirty="0"/>
          </a:p>
          <a:p>
            <a:r>
              <a:rPr lang="en-US" baseline="0" dirty="0"/>
              <a:t>Mention the importance of a T1013 (Page 14), and describe the steps in logging onto CRA’s Represent a client website</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6454928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15 </a:t>
            </a:r>
            <a:r>
              <a:rPr lang="en-CA" baseline="0" dirty="0"/>
              <a:t>and discuss how you enter tax data on each spouse’s T1 (mention the Toggle icon and the F5 key)</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34076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Refer to page 20 discuss how you work with the auditor to verify the T1s</a:t>
            </a:r>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3905528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18</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616"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93"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12.xml"/><Relationship Id="rId13" Type="http://schemas.microsoft.com/office/2007/relationships/diagramDrawing" Target="../diagrams/drawing13.xml"/><Relationship Id="rId3" Type="http://schemas.openxmlformats.org/officeDocument/2006/relationships/image" Target="../media/image10.png"/><Relationship Id="rId7" Type="http://schemas.openxmlformats.org/officeDocument/2006/relationships/diagramColors" Target="../diagrams/colors12.xml"/><Relationship Id="rId12" Type="http://schemas.openxmlformats.org/officeDocument/2006/relationships/diagramColors" Target="../diagrams/colors13.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QuickStyle" Target="../diagrams/quickStyle12.xml"/><Relationship Id="rId11" Type="http://schemas.openxmlformats.org/officeDocument/2006/relationships/diagramQuickStyle" Target="../diagrams/quickStyle13.xml"/><Relationship Id="rId5" Type="http://schemas.openxmlformats.org/officeDocument/2006/relationships/diagramLayout" Target="../diagrams/layout12.xml"/><Relationship Id="rId10" Type="http://schemas.openxmlformats.org/officeDocument/2006/relationships/diagramLayout" Target="../diagrams/layout13.xml"/><Relationship Id="rId4" Type="http://schemas.openxmlformats.org/officeDocument/2006/relationships/diagramData" Target="../diagrams/data12.xml"/><Relationship Id="rId9" Type="http://schemas.openxmlformats.org/officeDocument/2006/relationships/diagramData" Target="../diagrams/data13.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15.xml"/><Relationship Id="rId13" Type="http://schemas.openxmlformats.org/officeDocument/2006/relationships/image" Target="../media/image11.png"/><Relationship Id="rId3" Type="http://schemas.openxmlformats.org/officeDocument/2006/relationships/diagramData" Target="../diagrams/data14.xml"/><Relationship Id="rId7" Type="http://schemas.microsoft.com/office/2007/relationships/diagramDrawing" Target="../diagrams/drawing14.xml"/><Relationship Id="rId12" Type="http://schemas.microsoft.com/office/2007/relationships/diagramDrawing" Target="../diagrams/drawing15.xml"/><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diagramColors" Target="../diagrams/colors14.xml"/><Relationship Id="rId11" Type="http://schemas.openxmlformats.org/officeDocument/2006/relationships/diagramColors" Target="../diagrams/colors15.xml"/><Relationship Id="rId5" Type="http://schemas.openxmlformats.org/officeDocument/2006/relationships/diagramQuickStyle" Target="../diagrams/quickStyle14.xml"/><Relationship Id="rId10" Type="http://schemas.openxmlformats.org/officeDocument/2006/relationships/diagramQuickStyle" Target="../diagrams/quickStyle15.xml"/><Relationship Id="rId4" Type="http://schemas.openxmlformats.org/officeDocument/2006/relationships/diagramLayout" Target="../diagrams/layout14.xml"/><Relationship Id="rId9" Type="http://schemas.openxmlformats.org/officeDocument/2006/relationships/diagramLayout" Target="../diagrams/layout15.xml"/></Relationships>
</file>

<file path=ppt/slides/_rels/slide12.xml.rels><?xml version="1.0" encoding="UTF-8" standalone="yes"?>
<Relationships xmlns="http://schemas.openxmlformats.org/package/2006/relationships"><Relationship Id="rId8" Type="http://schemas.microsoft.com/office/2007/relationships/diagramDrawing" Target="../diagrams/drawing16.xml"/><Relationship Id="rId13" Type="http://schemas.microsoft.com/office/2007/relationships/diagramDrawing" Target="../diagrams/drawing17.xml"/><Relationship Id="rId3" Type="http://schemas.openxmlformats.org/officeDocument/2006/relationships/image" Target="../media/image12.png"/><Relationship Id="rId7" Type="http://schemas.openxmlformats.org/officeDocument/2006/relationships/diagramColors" Target="../diagrams/colors16.xml"/><Relationship Id="rId12" Type="http://schemas.openxmlformats.org/officeDocument/2006/relationships/diagramColors" Target="../diagrams/colors17.xml"/><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diagramQuickStyle" Target="../diagrams/quickStyle16.xml"/><Relationship Id="rId11" Type="http://schemas.openxmlformats.org/officeDocument/2006/relationships/diagramQuickStyle" Target="../diagrams/quickStyle17.xml"/><Relationship Id="rId5" Type="http://schemas.openxmlformats.org/officeDocument/2006/relationships/diagramLayout" Target="../diagrams/layout16.xml"/><Relationship Id="rId10" Type="http://schemas.openxmlformats.org/officeDocument/2006/relationships/diagramLayout" Target="../diagrams/layout17.xml"/><Relationship Id="rId4" Type="http://schemas.openxmlformats.org/officeDocument/2006/relationships/diagramData" Target="../diagrams/data16.xml"/><Relationship Id="rId9" Type="http://schemas.openxmlformats.org/officeDocument/2006/relationships/diagramData" Target="../diagrams/data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6.png"/><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8" Type="http://schemas.microsoft.com/office/2007/relationships/diagramDrawing" Target="../diagrams/drawing4.xml"/><Relationship Id="rId13" Type="http://schemas.microsoft.com/office/2007/relationships/diagramDrawing" Target="../diagrams/drawing5.xml"/><Relationship Id="rId3" Type="http://schemas.openxmlformats.org/officeDocument/2006/relationships/image" Target="../media/image7.png"/><Relationship Id="rId7" Type="http://schemas.openxmlformats.org/officeDocument/2006/relationships/diagramColors" Target="../diagrams/colors4.xml"/><Relationship Id="rId12" Type="http://schemas.openxmlformats.org/officeDocument/2006/relationships/diagramColors" Target="../diagrams/colors5.xml"/><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diagramQuickStyle" Target="../diagrams/quickStyle4.xml"/><Relationship Id="rId11" Type="http://schemas.openxmlformats.org/officeDocument/2006/relationships/diagramQuickStyle" Target="../diagrams/quickStyle5.xml"/><Relationship Id="rId5" Type="http://schemas.openxmlformats.org/officeDocument/2006/relationships/diagramLayout" Target="../diagrams/layout4.xml"/><Relationship Id="rId10" Type="http://schemas.openxmlformats.org/officeDocument/2006/relationships/diagramLayout" Target="../diagrams/layout5.xml"/><Relationship Id="rId4" Type="http://schemas.openxmlformats.org/officeDocument/2006/relationships/diagramData" Target="../diagrams/data4.xml"/><Relationship Id="rId9" Type="http://schemas.openxmlformats.org/officeDocument/2006/relationships/diagramData" Target="../diagrams/data5.xml"/></Relationships>
</file>

<file path=ppt/slides/_rels/slide7.xml.rels><?xml version="1.0" encoding="UTF-8" standalone="yes"?>
<Relationships xmlns="http://schemas.openxmlformats.org/package/2006/relationships"><Relationship Id="rId8" Type="http://schemas.openxmlformats.org/officeDocument/2006/relationships/diagramData" Target="../diagrams/data7.xml"/><Relationship Id="rId13" Type="http://schemas.openxmlformats.org/officeDocument/2006/relationships/image" Target="../media/image8.png"/><Relationship Id="rId3" Type="http://schemas.openxmlformats.org/officeDocument/2006/relationships/diagramData" Target="../diagrams/data6.xml"/><Relationship Id="rId7" Type="http://schemas.microsoft.com/office/2007/relationships/diagramDrawing" Target="../diagrams/drawing6.xml"/><Relationship Id="rId12" Type="http://schemas.microsoft.com/office/2007/relationships/diagramDrawing" Target="../diagrams/drawing7.xml"/><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diagramColors" Target="../diagrams/colors6.xml"/><Relationship Id="rId11" Type="http://schemas.openxmlformats.org/officeDocument/2006/relationships/diagramColors" Target="../diagrams/colors7.xml"/><Relationship Id="rId5" Type="http://schemas.openxmlformats.org/officeDocument/2006/relationships/diagramQuickStyle" Target="../diagrams/quickStyle6.xml"/><Relationship Id="rId10" Type="http://schemas.openxmlformats.org/officeDocument/2006/relationships/diagramQuickStyle" Target="../diagrams/quickStyle7.xml"/><Relationship Id="rId4" Type="http://schemas.openxmlformats.org/officeDocument/2006/relationships/diagramLayout" Target="../diagrams/layout6.xml"/><Relationship Id="rId9" Type="http://schemas.openxmlformats.org/officeDocument/2006/relationships/diagramLayout" Target="../diagrams/layout7.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9.xml"/><Relationship Id="rId13" Type="http://schemas.openxmlformats.org/officeDocument/2006/relationships/image" Target="../media/image6.png"/><Relationship Id="rId3" Type="http://schemas.openxmlformats.org/officeDocument/2006/relationships/diagramData" Target="../diagrams/data8.xml"/><Relationship Id="rId7" Type="http://schemas.microsoft.com/office/2007/relationships/diagramDrawing" Target="../diagrams/drawing8.xml"/><Relationship Id="rId12" Type="http://schemas.microsoft.com/office/2007/relationships/diagramDrawing" Target="../diagrams/drawing9.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8.xml"/><Relationship Id="rId11" Type="http://schemas.openxmlformats.org/officeDocument/2006/relationships/diagramColors" Target="../diagrams/colors9.xml"/><Relationship Id="rId5" Type="http://schemas.openxmlformats.org/officeDocument/2006/relationships/diagramQuickStyle" Target="../diagrams/quickStyle8.xml"/><Relationship Id="rId10" Type="http://schemas.openxmlformats.org/officeDocument/2006/relationships/diagramQuickStyle" Target="../diagrams/quickStyle9.xml"/><Relationship Id="rId4" Type="http://schemas.openxmlformats.org/officeDocument/2006/relationships/diagramLayout" Target="../diagrams/layout8.xml"/><Relationship Id="rId9" Type="http://schemas.openxmlformats.org/officeDocument/2006/relationships/diagramLayout" Target="../diagrams/layout9.xml"/><Relationship Id="rId14" Type="http://schemas.openxmlformats.org/officeDocument/2006/relationships/image" Target="../media/image7.png"/></Relationships>
</file>

<file path=ppt/slides/_rels/slide9.xml.rels><?xml version="1.0" encoding="UTF-8" standalone="yes"?>
<Relationships xmlns="http://schemas.openxmlformats.org/package/2006/relationships"><Relationship Id="rId8" Type="http://schemas.microsoft.com/office/2007/relationships/diagramDrawing" Target="../diagrams/drawing10.xml"/><Relationship Id="rId13" Type="http://schemas.microsoft.com/office/2007/relationships/diagramDrawing" Target="../diagrams/drawing11.xml"/><Relationship Id="rId3" Type="http://schemas.openxmlformats.org/officeDocument/2006/relationships/image" Target="../media/image9.png"/><Relationship Id="rId7" Type="http://schemas.openxmlformats.org/officeDocument/2006/relationships/diagramColors" Target="../diagrams/colors10.xml"/><Relationship Id="rId12" Type="http://schemas.openxmlformats.org/officeDocument/2006/relationships/diagramColors" Target="../diagrams/colors11.xml"/><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diagramQuickStyle" Target="../diagrams/quickStyle10.xml"/><Relationship Id="rId11" Type="http://schemas.openxmlformats.org/officeDocument/2006/relationships/diagramQuickStyle" Target="../diagrams/quickStyle11.xml"/><Relationship Id="rId5" Type="http://schemas.openxmlformats.org/officeDocument/2006/relationships/diagramLayout" Target="../diagrams/layout10.xml"/><Relationship Id="rId10" Type="http://schemas.openxmlformats.org/officeDocument/2006/relationships/diagramLayout" Target="../diagrams/layout11.xml"/><Relationship Id="rId4" Type="http://schemas.openxmlformats.org/officeDocument/2006/relationships/diagramData" Target="../diagrams/data10.xml"/><Relationship Id="rId9" Type="http://schemas.openxmlformats.org/officeDocument/2006/relationships/diagramData" Target="../diagrams/data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A1B0183-9094-0F46-ACB5-0E141209AE83}"/>
              </a:ext>
            </a:extLst>
          </p:cNvPr>
          <p:cNvPicPr/>
          <p:nvPr/>
        </p:nvPicPr>
        <p:blipFill>
          <a:blip r:embed="rId3"/>
          <a:stretch>
            <a:fillRect/>
          </a:stretch>
        </p:blipFill>
        <p:spPr>
          <a:xfrm>
            <a:off x="912812" y="1639570"/>
            <a:ext cx="6579553" cy="4208400"/>
          </a:xfrm>
          <a:prstGeom prst="rect">
            <a:avLst/>
          </a:prstGeom>
        </p:spPr>
      </p:pic>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113170059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1" name="Diagram 10">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1242451101"/>
              </p:ext>
            </p:extLst>
          </p:nvPr>
        </p:nvGraphicFramePr>
        <p:xfrm>
          <a:off x="5754633" y="2320587"/>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57823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3">
            <a:extLst>
              <a:ext uri="{FF2B5EF4-FFF2-40B4-BE49-F238E27FC236}">
                <a16:creationId xmlns:a16="http://schemas.microsoft.com/office/drawing/2014/main" id="{FD982E0A-7557-48FB-AF2B-AC701F95D84B}"/>
              </a:ext>
            </a:extLst>
          </p:cNvPr>
          <p:cNvGraphicFramePr>
            <a:graphicFrameLocks/>
          </p:cNvGraphicFramePr>
          <p:nvPr>
            <p:extLst>
              <p:ext uri="{D42A27DB-BD31-4B8C-83A1-F6EECF244321}">
                <p14:modId xmlns:p14="http://schemas.microsoft.com/office/powerpoint/2010/main" val="901517388"/>
              </p:ext>
            </p:extLst>
          </p:nvPr>
        </p:nvGraphicFramePr>
        <p:xfrm>
          <a:off x="9752012" y="1135559"/>
          <a:ext cx="2115755" cy="36897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3069027369"/>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CCC02BB4-B7AD-9347-92B6-743633D1FD14}"/>
              </a:ext>
            </a:extLst>
          </p:cNvPr>
          <p:cNvPicPr/>
          <p:nvPr/>
        </p:nvPicPr>
        <p:blipFill>
          <a:blip r:embed="rId13"/>
          <a:stretch>
            <a:fillRect/>
          </a:stretch>
        </p:blipFill>
        <p:spPr>
          <a:xfrm>
            <a:off x="836612" y="609600"/>
            <a:ext cx="8382000" cy="5867400"/>
          </a:xfrm>
          <a:prstGeom prst="rect">
            <a:avLst/>
          </a:prstGeom>
        </p:spPr>
      </p:pic>
    </p:spTree>
    <p:extLst>
      <p:ext uri="{BB962C8B-B14F-4D97-AF65-F5344CB8AC3E}">
        <p14:creationId xmlns:p14="http://schemas.microsoft.com/office/powerpoint/2010/main" val="9961428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B7E5AEC-2297-A94D-91C0-6B134EFB27D5}"/>
              </a:ext>
            </a:extLst>
          </p:cNvPr>
          <p:cNvPicPr/>
          <p:nvPr/>
        </p:nvPicPr>
        <p:blipFill>
          <a:blip r:embed="rId3"/>
          <a:stretch>
            <a:fillRect/>
          </a:stretch>
        </p:blipFill>
        <p:spPr>
          <a:xfrm>
            <a:off x="1389476" y="1395951"/>
            <a:ext cx="5768064" cy="4636988"/>
          </a:xfrm>
          <a:prstGeom prst="rect">
            <a:avLst/>
          </a:prstGeom>
        </p:spPr>
      </p:pic>
      <p:sp>
        <p:nvSpPr>
          <p:cNvPr id="5"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10" name="Content Placeholder 2">
            <a:extLst>
              <a:ext uri="{FF2B5EF4-FFF2-40B4-BE49-F238E27FC236}">
                <a16:creationId xmlns:a16="http://schemas.microsoft.com/office/drawing/2014/main" id="{2C83258E-263B-452C-9487-3C6A9C5E6831}"/>
              </a:ext>
            </a:extLst>
          </p:cNvPr>
          <p:cNvGraphicFramePr>
            <a:graphicFrameLocks/>
          </p:cNvGraphicFramePr>
          <p:nvPr>
            <p:extLst>
              <p:ext uri="{D42A27DB-BD31-4B8C-83A1-F6EECF244321}">
                <p14:modId xmlns:p14="http://schemas.microsoft.com/office/powerpoint/2010/main" val="1874685479"/>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1753262445"/>
              </p:ext>
            </p:extLst>
          </p:nvPr>
        </p:nvGraphicFramePr>
        <p:xfrm>
          <a:off x="5754633" y="2320587"/>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225184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4</a:t>
            </a:r>
            <a:br>
              <a:rPr lang="en-US" sz="5400" dirty="0"/>
            </a:br>
            <a:r>
              <a:rPr lang="en-US" sz="5400" dirty="0"/>
              <a:t>A Basic T1</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1152488378"/>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30188" y="4572000"/>
            <a:ext cx="6627812" cy="758825"/>
          </a:xfrm>
          <a:prstGeom prst="rect">
            <a:avLst/>
          </a:prstGeom>
        </p:spPr>
        <p:txBody>
          <a:bodyPr/>
          <a:lstStyle/>
          <a:p>
            <a:r>
              <a:rPr lang="en-CA" dirty="0"/>
              <a:t>What’s </a:t>
            </a:r>
            <a:r>
              <a:rPr lang="en-CA"/>
              <a:t>a T1?</a:t>
            </a:r>
            <a:endParaRPr lang="en-CA" dirty="0"/>
          </a:p>
        </p:txBody>
      </p:sp>
      <p:pic>
        <p:nvPicPr>
          <p:cNvPr id="3" name="Picture 2">
            <a:extLst>
              <a:ext uri="{FF2B5EF4-FFF2-40B4-BE49-F238E27FC236}">
                <a16:creationId xmlns:a16="http://schemas.microsoft.com/office/drawing/2014/main" id="{A0E4AFC3-F3EE-524E-9ECF-3299A56BEF7A}"/>
              </a:ext>
            </a:extLst>
          </p:cNvPr>
          <p:cNvPicPr/>
          <p:nvPr/>
        </p:nvPicPr>
        <p:blipFill>
          <a:blip r:embed="rId3"/>
          <a:stretch>
            <a:fillRect/>
          </a:stretch>
        </p:blipFill>
        <p:spPr>
          <a:xfrm>
            <a:off x="5637212" y="473391"/>
            <a:ext cx="4924107" cy="5363845"/>
          </a:xfrm>
          <a:prstGeom prst="rect">
            <a:avLst/>
          </a:prstGeom>
        </p:spPr>
      </p:pic>
    </p:spTree>
    <p:extLst>
      <p:ext uri="{BB962C8B-B14F-4D97-AF65-F5344CB8AC3E}">
        <p14:creationId xmlns:p14="http://schemas.microsoft.com/office/powerpoint/2010/main" val="648785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aper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1454566226"/>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857456598"/>
              </p:ext>
            </p:extLst>
          </p:nvPr>
        </p:nvGraphicFramePr>
        <p:xfrm>
          <a:off x="5865812" y="2451100"/>
          <a:ext cx="4343400" cy="304796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a:extLst>
              <a:ext uri="{FF2B5EF4-FFF2-40B4-BE49-F238E27FC236}">
                <a16:creationId xmlns:a16="http://schemas.microsoft.com/office/drawing/2014/main" id="{30B3C320-DA6C-B943-A932-A2F4379CC769}"/>
              </a:ext>
            </a:extLst>
          </p:cNvPr>
          <p:cNvPicPr/>
          <p:nvPr/>
        </p:nvPicPr>
        <p:blipFill>
          <a:blip r:embed="rId13"/>
          <a:stretch>
            <a:fillRect/>
          </a:stretch>
        </p:blipFill>
        <p:spPr>
          <a:xfrm>
            <a:off x="1916112" y="1155955"/>
            <a:ext cx="4924107" cy="5363845"/>
          </a:xfrm>
          <a:prstGeom prst="rect">
            <a:avLst/>
          </a:prstGeom>
        </p:spPr>
      </p:pic>
    </p:spTree>
    <p:extLst>
      <p:ext uri="{BB962C8B-B14F-4D97-AF65-F5344CB8AC3E}">
        <p14:creationId xmlns:p14="http://schemas.microsoft.com/office/powerpoint/2010/main" val="18915216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F134F6D-D005-4742-9F3E-8860CA83B83F}"/>
              </a:ext>
            </a:extLst>
          </p:cNvPr>
          <p:cNvPicPr/>
          <p:nvPr/>
        </p:nvPicPr>
        <p:blipFill>
          <a:blip r:embed="rId3"/>
          <a:stretch>
            <a:fillRect/>
          </a:stretch>
        </p:blipFill>
        <p:spPr>
          <a:xfrm>
            <a:off x="1522412" y="1696230"/>
            <a:ext cx="5152708" cy="4449600"/>
          </a:xfrm>
          <a:prstGeom prst="rect">
            <a:avLst/>
          </a:prstGeom>
        </p:spPr>
      </p:pic>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roFile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3697239634"/>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296983995"/>
              </p:ext>
            </p:extLst>
          </p:nvPr>
        </p:nvGraphicFramePr>
        <p:xfrm>
          <a:off x="5865812" y="3048000"/>
          <a:ext cx="3962400" cy="161286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6577712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a ProFile t1</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3176744582"/>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3222236151"/>
              </p:ext>
            </p:extLst>
          </p:nvPr>
        </p:nvGraphicFramePr>
        <p:xfrm>
          <a:off x="7500937" y="1964233"/>
          <a:ext cx="4724400" cy="29295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6" name="Picture 5">
            <a:extLst>
              <a:ext uri="{FF2B5EF4-FFF2-40B4-BE49-F238E27FC236}">
                <a16:creationId xmlns:a16="http://schemas.microsoft.com/office/drawing/2014/main" id="{98D22CAD-9668-C54D-9273-1101346948F0}"/>
              </a:ext>
            </a:extLst>
          </p:cNvPr>
          <p:cNvPicPr/>
          <p:nvPr/>
        </p:nvPicPr>
        <p:blipFill>
          <a:blip r:embed="rId13"/>
          <a:stretch>
            <a:fillRect/>
          </a:stretch>
        </p:blipFill>
        <p:spPr>
          <a:xfrm>
            <a:off x="455612" y="1634253"/>
            <a:ext cx="8262303" cy="4442957"/>
          </a:xfrm>
          <a:prstGeom prst="rect">
            <a:avLst/>
          </a:prstGeom>
        </p:spPr>
      </p:pic>
    </p:spTree>
    <p:extLst>
      <p:ext uri="{BB962C8B-B14F-4D97-AF65-F5344CB8AC3E}">
        <p14:creationId xmlns:p14="http://schemas.microsoft.com/office/powerpoint/2010/main" val="6580083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14288" y="615393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7" name="Content Placeholder 2">
            <a:extLst>
              <a:ext uri="{FF2B5EF4-FFF2-40B4-BE49-F238E27FC236}">
                <a16:creationId xmlns:a16="http://schemas.microsoft.com/office/drawing/2014/main" id="{DF7D8E8D-5C8A-4637-88E0-188E8009C43F}"/>
              </a:ext>
            </a:extLst>
          </p:cNvPr>
          <p:cNvGraphicFramePr>
            <a:graphicFrameLocks/>
          </p:cNvGraphicFramePr>
          <p:nvPr>
            <p:extLst>
              <p:ext uri="{D42A27DB-BD31-4B8C-83A1-F6EECF244321}">
                <p14:modId xmlns:p14="http://schemas.microsoft.com/office/powerpoint/2010/main" val="3440607880"/>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929214144"/>
              </p:ext>
            </p:extLst>
          </p:nvPr>
        </p:nvGraphicFramePr>
        <p:xfrm>
          <a:off x="5256212" y="3116346"/>
          <a:ext cx="5105400" cy="16764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8" name="Picture 7">
            <a:extLst>
              <a:ext uri="{FF2B5EF4-FFF2-40B4-BE49-F238E27FC236}">
                <a16:creationId xmlns:a16="http://schemas.microsoft.com/office/drawing/2014/main" id="{E66F4B29-E3CB-5646-A3B6-BA13871CD4F9}"/>
              </a:ext>
            </a:extLst>
          </p:cNvPr>
          <p:cNvPicPr/>
          <p:nvPr/>
        </p:nvPicPr>
        <p:blipFill>
          <a:blip r:embed="rId13"/>
          <a:stretch>
            <a:fillRect/>
          </a:stretch>
        </p:blipFill>
        <p:spPr>
          <a:xfrm>
            <a:off x="3732212" y="2651462"/>
            <a:ext cx="3048000" cy="3870009"/>
          </a:xfrm>
          <a:prstGeom prst="rect">
            <a:avLst/>
          </a:prstGeom>
        </p:spPr>
      </p:pic>
      <p:pic>
        <p:nvPicPr>
          <p:cNvPr id="11" name="Picture 10">
            <a:extLst>
              <a:ext uri="{FF2B5EF4-FFF2-40B4-BE49-F238E27FC236}">
                <a16:creationId xmlns:a16="http://schemas.microsoft.com/office/drawing/2014/main" id="{2604E4DA-F4CB-6C4B-BE8F-474692AA59B1}"/>
              </a:ext>
            </a:extLst>
          </p:cNvPr>
          <p:cNvPicPr/>
          <p:nvPr/>
        </p:nvPicPr>
        <p:blipFill>
          <a:blip r:embed="rId14"/>
          <a:stretch>
            <a:fillRect/>
          </a:stretch>
        </p:blipFill>
        <p:spPr>
          <a:xfrm>
            <a:off x="1522412" y="1696230"/>
            <a:ext cx="3534093" cy="3096516"/>
          </a:xfrm>
          <a:prstGeom prst="rect">
            <a:avLst/>
          </a:prstGeom>
        </p:spPr>
      </p:pic>
    </p:spTree>
    <p:extLst>
      <p:ext uri="{BB962C8B-B14F-4D97-AF65-F5344CB8AC3E}">
        <p14:creationId xmlns:p14="http://schemas.microsoft.com/office/powerpoint/2010/main" val="6462849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C4265B-92F5-2645-A614-7C1294904624}"/>
              </a:ext>
            </a:extLst>
          </p:cNvPr>
          <p:cNvPicPr/>
          <p:nvPr/>
        </p:nvPicPr>
        <p:blipFill>
          <a:blip r:embed="rId3"/>
          <a:stretch>
            <a:fillRect/>
          </a:stretch>
        </p:blipFill>
        <p:spPr>
          <a:xfrm>
            <a:off x="989012" y="1447800"/>
            <a:ext cx="6067108" cy="4529734"/>
          </a:xfrm>
          <a:prstGeom prst="rect">
            <a:avLst/>
          </a:prstGeom>
        </p:spPr>
      </p:pic>
      <p:sp>
        <p:nvSpPr>
          <p:cNvPr id="5" name="Title 1"/>
          <p:cNvSpPr txBox="1">
            <a:spLocks/>
          </p:cNvSpPr>
          <p:nvPr/>
        </p:nvSpPr>
        <p:spPr>
          <a:xfrm>
            <a:off x="0" y="6159221"/>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t1 prep</a:t>
            </a:r>
          </a:p>
        </p:txBody>
      </p:sp>
      <p:graphicFrame>
        <p:nvGraphicFramePr>
          <p:cNvPr id="7" name="Content Placeholder 2">
            <a:extLst>
              <a:ext uri="{FF2B5EF4-FFF2-40B4-BE49-F238E27FC236}">
                <a16:creationId xmlns:a16="http://schemas.microsoft.com/office/drawing/2014/main" id="{6C796030-2562-4393-BE3C-B9EB69959139}"/>
              </a:ext>
            </a:extLst>
          </p:cNvPr>
          <p:cNvGraphicFramePr>
            <a:graphicFrameLocks/>
          </p:cNvGraphicFramePr>
          <p:nvPr>
            <p:extLst>
              <p:ext uri="{D42A27DB-BD31-4B8C-83A1-F6EECF244321}">
                <p14:modId xmlns:p14="http://schemas.microsoft.com/office/powerpoint/2010/main" val="1623415707"/>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8" name="Diagram 7">
            <a:extLst>
              <a:ext uri="{FF2B5EF4-FFF2-40B4-BE49-F238E27FC236}">
                <a16:creationId xmlns:a16="http://schemas.microsoft.com/office/drawing/2014/main" id="{8AC8B347-0882-4CF3-8114-9B17B39C5EC3}"/>
              </a:ext>
            </a:extLst>
          </p:cNvPr>
          <p:cNvGraphicFramePr/>
          <p:nvPr>
            <p:extLst>
              <p:ext uri="{D42A27DB-BD31-4B8C-83A1-F6EECF244321}">
                <p14:modId xmlns:p14="http://schemas.microsoft.com/office/powerpoint/2010/main" val="827857627"/>
              </p:ext>
            </p:extLst>
          </p:nvPr>
        </p:nvGraphicFramePr>
        <p:xfrm>
          <a:off x="5332412" y="2514600"/>
          <a:ext cx="6337300" cy="2247747"/>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532980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394</TotalTime>
  <Words>435</Words>
  <Application>Microsoft Macintosh PowerPoint</Application>
  <PresentationFormat>Custom</PresentationFormat>
  <Paragraphs>75</Paragraphs>
  <Slides>12</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0"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4 A Basic T1</vt:lpstr>
      <vt:lpstr>PowerPoint Presentation</vt:lpstr>
      <vt:lpstr>What’s a T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609</cp:revision>
  <cp:lastPrinted>2017-01-10T23:11:41Z</cp:lastPrinted>
  <dcterms:created xsi:type="dcterms:W3CDTF">2014-09-11T15:23:46Z</dcterms:created>
  <dcterms:modified xsi:type="dcterms:W3CDTF">2018-12-13T13:51:42Z</dcterms:modified>
</cp:coreProperties>
</file>